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4"/>
    <p:sldMasterId id="2147483725" r:id="rId5"/>
    <p:sldMasterId id="2147483731" r:id="rId6"/>
    <p:sldMasterId id="2147483750" r:id="rId7"/>
    <p:sldMasterId id="2147483755" r:id="rId8"/>
    <p:sldMasterId id="2147483761" r:id="rId9"/>
    <p:sldMasterId id="2147483770" r:id="rId10"/>
    <p:sldMasterId id="2147483775" r:id="rId11"/>
  </p:sldMasterIdLst>
  <p:notesMasterIdLst>
    <p:notesMasterId r:id="rId13"/>
  </p:notesMasterIdLst>
  <p:handoutMasterIdLst>
    <p:handoutMasterId r:id="rId14"/>
  </p:handoutMasterIdLst>
  <p:sldIdLst>
    <p:sldId id="2147377175" r:id="rId12"/>
  </p:sldIdLst>
  <p:sldSz cx="12192000" cy="6858000"/>
  <p:notesSz cx="6799263" cy="9929813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r Diab" initials="AD" lastIdx="1" clrIdx="0">
    <p:extLst>
      <p:ext uri="{19B8F6BF-5375-455C-9EA6-DF929625EA0E}">
        <p15:presenceInfo xmlns:p15="http://schemas.microsoft.com/office/powerpoint/2012/main" userId="S::Amr.Diab@alfuttaim.com::5b81bfb0-95f1-4f0f-9c90-ba38637708c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061"/>
    <a:srgbClr val="C0EEEA"/>
    <a:srgbClr val="00FF00"/>
    <a:srgbClr val="1D6962"/>
    <a:srgbClr val="278D83"/>
    <a:srgbClr val="5CD2C7"/>
    <a:srgbClr val="A7E7E1"/>
    <a:srgbClr val="9A57CD"/>
    <a:srgbClr val="CDACE6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D1CFD7-B0E9-461E-825C-BEBD6588129F}" v="1" dt="2024-01-17T08:57:43.2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08"/>
    <p:restoredTop sz="95226" autoAdjust="0"/>
  </p:normalViewPr>
  <p:slideViewPr>
    <p:cSldViewPr snapToGrid="0" snapToObjects="1" showGuides="1">
      <p:cViewPr varScale="1">
        <p:scale>
          <a:sx n="82" d="100"/>
          <a:sy n="82" d="100"/>
        </p:scale>
        <p:origin x="475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tma Alsagaf" userId="ef587b5e-378a-4bb3-aa9f-3c15b98138a4" providerId="ADAL" clId="{160A7093-B37E-41A5-A45C-90D1B943057A}"/>
    <pc:docChg chg="undo custSel addSld delSld modSld">
      <pc:chgData name="Fatma Alsagaf" userId="ef587b5e-378a-4bb3-aa9f-3c15b98138a4" providerId="ADAL" clId="{160A7093-B37E-41A5-A45C-90D1B943057A}" dt="2023-11-24T06:09:35.442" v="20" actId="478"/>
      <pc:docMkLst>
        <pc:docMk/>
      </pc:docMkLst>
      <pc:sldChg chg="addSp delSp mod">
        <pc:chgData name="Fatma Alsagaf" userId="ef587b5e-378a-4bb3-aa9f-3c15b98138a4" providerId="ADAL" clId="{160A7093-B37E-41A5-A45C-90D1B943057A}" dt="2023-11-24T06:09:26.726" v="15" actId="478"/>
        <pc:sldMkLst>
          <pc:docMk/>
          <pc:sldMk cId="3394842380" sldId="2147377079"/>
        </pc:sldMkLst>
        <pc:spChg chg="add del">
          <ac:chgData name="Fatma Alsagaf" userId="ef587b5e-378a-4bb3-aa9f-3c15b98138a4" providerId="ADAL" clId="{160A7093-B37E-41A5-A45C-90D1B943057A}" dt="2023-11-24T06:09:24.862" v="13" actId="478"/>
          <ac:spMkLst>
            <pc:docMk/>
            <pc:sldMk cId="3394842380" sldId="2147377079"/>
            <ac:spMk id="8" creationId="{00000000-0000-0000-0000-000000000000}"/>
          </ac:spMkLst>
        </pc:spChg>
        <pc:picChg chg="add del">
          <ac:chgData name="Fatma Alsagaf" userId="ef587b5e-378a-4bb3-aa9f-3c15b98138a4" providerId="ADAL" clId="{160A7093-B37E-41A5-A45C-90D1B943057A}" dt="2023-11-24T06:09:26.726" v="15" actId="478"/>
          <ac:picMkLst>
            <pc:docMk/>
            <pc:sldMk cId="3394842380" sldId="2147377079"/>
            <ac:picMk id="6" creationId="{D2B82C02-53C6-0E1C-749B-4CC0B7D739E9}"/>
          </ac:picMkLst>
        </pc:picChg>
        <pc:picChg chg="add del">
          <ac:chgData name="Fatma Alsagaf" userId="ef587b5e-378a-4bb3-aa9f-3c15b98138a4" providerId="ADAL" clId="{160A7093-B37E-41A5-A45C-90D1B943057A}" dt="2023-11-24T06:09:25.810" v="14" actId="478"/>
          <ac:picMkLst>
            <pc:docMk/>
            <pc:sldMk cId="3394842380" sldId="2147377079"/>
            <ac:picMk id="9" creationId="{AF33A80E-F659-0771-8705-9395A463344C}"/>
          </ac:picMkLst>
        </pc:picChg>
      </pc:sldChg>
      <pc:sldChg chg="add del">
        <pc:chgData name="Fatma Alsagaf" userId="ef587b5e-378a-4bb3-aa9f-3c15b98138a4" providerId="ADAL" clId="{160A7093-B37E-41A5-A45C-90D1B943057A}" dt="2023-11-24T06:09:29.166" v="16" actId="47"/>
        <pc:sldMkLst>
          <pc:docMk/>
          <pc:sldMk cId="2319192221" sldId="2147377171"/>
        </pc:sldMkLst>
      </pc:sldChg>
      <pc:sldChg chg="delSp add del">
        <pc:chgData name="Fatma Alsagaf" userId="ef587b5e-378a-4bb3-aa9f-3c15b98138a4" providerId="ADAL" clId="{160A7093-B37E-41A5-A45C-90D1B943057A}" dt="2023-11-24T06:09:33.468" v="19" actId="478"/>
        <pc:sldMkLst>
          <pc:docMk/>
          <pc:sldMk cId="57202049" sldId="2147377173"/>
        </pc:sldMkLst>
        <pc:spChg chg="del">
          <ac:chgData name="Fatma Alsagaf" userId="ef587b5e-378a-4bb3-aa9f-3c15b98138a4" providerId="ADAL" clId="{160A7093-B37E-41A5-A45C-90D1B943057A}" dt="2023-11-24T06:09:33.468" v="19" actId="478"/>
          <ac:spMkLst>
            <pc:docMk/>
            <pc:sldMk cId="57202049" sldId="2147377173"/>
            <ac:spMk id="4" creationId="{75DC1F15-F86A-8A30-2343-4D3CCAD0AEC3}"/>
          </ac:spMkLst>
        </pc:spChg>
      </pc:sldChg>
      <pc:sldChg chg="add del">
        <pc:chgData name="Fatma Alsagaf" userId="ef587b5e-378a-4bb3-aa9f-3c15b98138a4" providerId="ADAL" clId="{160A7093-B37E-41A5-A45C-90D1B943057A}" dt="2023-11-24T06:09:29.583" v="17" actId="47"/>
        <pc:sldMkLst>
          <pc:docMk/>
          <pc:sldMk cId="2319275018" sldId="2147377174"/>
        </pc:sldMkLst>
      </pc:sldChg>
      <pc:sldChg chg="addSp delSp">
        <pc:chgData name="Fatma Alsagaf" userId="ef587b5e-378a-4bb3-aa9f-3c15b98138a4" providerId="ADAL" clId="{160A7093-B37E-41A5-A45C-90D1B943057A}" dt="2023-11-24T06:09:35.442" v="20" actId="478"/>
        <pc:sldMkLst>
          <pc:docMk/>
          <pc:sldMk cId="1873415763" sldId="2147377175"/>
        </pc:sldMkLst>
        <pc:spChg chg="add del">
          <ac:chgData name="Fatma Alsagaf" userId="ef587b5e-378a-4bb3-aa9f-3c15b98138a4" providerId="ADAL" clId="{160A7093-B37E-41A5-A45C-90D1B943057A}" dt="2023-11-24T06:09:35.442" v="20" actId="478"/>
          <ac:spMkLst>
            <pc:docMk/>
            <pc:sldMk cId="1873415763" sldId="2147377175"/>
            <ac:spMk id="4" creationId="{75DC1F15-F86A-8A30-2343-4D3CCAD0AEC3}"/>
          </ac:spMkLst>
        </pc:spChg>
      </pc:sldChg>
      <pc:sldChg chg="add del">
        <pc:chgData name="Fatma Alsagaf" userId="ef587b5e-378a-4bb3-aa9f-3c15b98138a4" providerId="ADAL" clId="{160A7093-B37E-41A5-A45C-90D1B943057A}" dt="2023-11-24T06:09:30.432" v="18" actId="47"/>
        <pc:sldMkLst>
          <pc:docMk/>
          <pc:sldMk cId="2968051913" sldId="2147377176"/>
        </pc:sldMkLst>
      </pc:sldChg>
    </pc:docChg>
  </pc:docChgLst>
  <pc:docChgLst>
    <pc:chgData name="Fatma Alsagaf" userId="ef587b5e-378a-4bb3-aa9f-3c15b98138a4" providerId="ADAL" clId="{F3341B03-BD87-4EA0-A2A2-0ADE2547CCEF}"/>
    <pc:docChg chg="modSld">
      <pc:chgData name="Fatma Alsagaf" userId="ef587b5e-378a-4bb3-aa9f-3c15b98138a4" providerId="ADAL" clId="{F3341B03-BD87-4EA0-A2A2-0ADE2547CCEF}" dt="2023-08-21T07:54:30.248" v="5" actId="1035"/>
      <pc:docMkLst>
        <pc:docMk/>
      </pc:docMkLst>
      <pc:sldChg chg="addSp modSp mod">
        <pc:chgData name="Fatma Alsagaf" userId="ef587b5e-378a-4bb3-aa9f-3c15b98138a4" providerId="ADAL" clId="{F3341B03-BD87-4EA0-A2A2-0ADE2547CCEF}" dt="2023-08-21T07:54:30.248" v="5" actId="1035"/>
        <pc:sldMkLst>
          <pc:docMk/>
          <pc:sldMk cId="884389446" sldId="2147377178"/>
        </pc:sldMkLst>
        <pc:spChg chg="add 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2" creationId="{8DF0EF47-B4DC-CCBA-3297-58AAB09DC05E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0" creationId="{57FC518B-7BC4-B181-6CAC-07A9F25B84EB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4" creationId="{165475FF-FDB0-1AB5-39D2-A565F7DD26DA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5" creationId="{B2C306CA-7C46-4A5D-2A26-A5A86C3414CD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6" creationId="{789D8D58-A562-E320-BD06-CB8818A92DB7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13" creationId="{B80D55FD-85FB-F9FE-F95B-53FC6CC8678D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14" creationId="{AF4827D6-D41C-729C-D903-D0C2D7E21DA4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15" creationId="{9570993C-0596-2B65-FB13-EE8C34BA445D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16" creationId="{9F450735-C6D4-06E6-8486-4CBA0FB1B38F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17" creationId="{9F92D10B-A4BE-1FEB-2E5A-8F2EA5E1B4B4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18" creationId="{65114EEB-1CFE-9BC0-5465-4D42483C4A10}"/>
          </ac:spMkLst>
        </pc:spChg>
        <pc:spChg chg="mod">
          <ac:chgData name="Fatma Alsagaf" userId="ef587b5e-378a-4bb3-aa9f-3c15b98138a4" providerId="ADAL" clId="{F3341B03-BD87-4EA0-A2A2-0ADE2547CCEF}" dt="2023-08-21T07:54:07.643" v="4" actId="1076"/>
          <ac:spMkLst>
            <pc:docMk/>
            <pc:sldMk cId="884389446" sldId="2147377178"/>
            <ac:spMk id="1219" creationId="{204388A3-5A74-1C84-0CD1-68D4D4AD7EDB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33" creationId="{73D47831-2FF8-B541-F0CC-F1C04470770B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34" creationId="{C21BF11C-16DA-909E-27FC-97E3FEC97866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36" creationId="{C8885B41-ABDD-AFAD-8EC9-A078DFD91425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37" creationId="{50AD354D-457B-955D-E3EF-614AA9223050}"/>
          </ac:spMkLst>
        </pc:spChg>
        <pc:spChg chg="mod">
          <ac:chgData name="Fatma Alsagaf" userId="ef587b5e-378a-4bb3-aa9f-3c15b98138a4" providerId="ADAL" clId="{F3341B03-BD87-4EA0-A2A2-0ADE2547CCEF}" dt="2023-08-21T07:54:30.248" v="5" actId="1035"/>
          <ac:spMkLst>
            <pc:docMk/>
            <pc:sldMk cId="884389446" sldId="2147377178"/>
            <ac:spMk id="1238" creationId="{14F49049-9FB3-B95D-C130-5525BAC8E225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39" creationId="{64D81084-FAB1-1FA3-0CCF-C685C5E678B5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40" creationId="{09F68519-8EE9-8E74-1EFB-B84065CCA534}"/>
          </ac:spMkLst>
        </pc:spChg>
        <pc:spChg chg="mod">
          <ac:chgData name="Fatma Alsagaf" userId="ef587b5e-378a-4bb3-aa9f-3c15b98138a4" providerId="ADAL" clId="{F3341B03-BD87-4EA0-A2A2-0ADE2547CCEF}" dt="2023-08-21T07:54:00.793" v="2" actId="571"/>
          <ac:spMkLst>
            <pc:docMk/>
            <pc:sldMk cId="884389446" sldId="2147377178"/>
            <ac:spMk id="1241" creationId="{1D71184F-862B-4F18-8AD6-62F1ED56C979}"/>
          </ac:spMkLst>
        </pc:spChg>
        <pc:spChg chg="mod">
          <ac:chgData name="Fatma Alsagaf" userId="ef587b5e-378a-4bb3-aa9f-3c15b98138a4" providerId="ADAL" clId="{F3341B03-BD87-4EA0-A2A2-0ADE2547CCEF}" dt="2023-08-21T07:54:03.620" v="3" actId="1076"/>
          <ac:spMkLst>
            <pc:docMk/>
            <pc:sldMk cId="884389446" sldId="2147377178"/>
            <ac:spMk id="1242" creationId="{E4BE24B8-410F-0EA2-7CF5-08598FF8BCB9}"/>
          </ac:spMkLst>
        </pc:spChg>
        <pc:grpChg chg="mod">
          <ac:chgData name="Fatma Alsagaf" userId="ef587b5e-378a-4bb3-aa9f-3c15b98138a4" providerId="ADAL" clId="{F3341B03-BD87-4EA0-A2A2-0ADE2547CCEF}" dt="2023-08-21T07:54:00.793" v="2" actId="571"/>
          <ac:grpSpMkLst>
            <pc:docMk/>
            <pc:sldMk cId="884389446" sldId="2147377178"/>
            <ac:grpSpMk id="17" creationId="{604DE793-A411-7A35-50AE-85AF1581F80F}"/>
          </ac:grpSpMkLst>
        </pc:grpChg>
        <pc:grpChg chg="mod">
          <ac:chgData name="Fatma Alsagaf" userId="ef587b5e-378a-4bb3-aa9f-3c15b98138a4" providerId="ADAL" clId="{F3341B03-BD87-4EA0-A2A2-0ADE2547CCEF}" dt="2023-08-21T07:54:00.793" v="2" actId="571"/>
          <ac:grpSpMkLst>
            <pc:docMk/>
            <pc:sldMk cId="884389446" sldId="2147377178"/>
            <ac:grpSpMk id="1212" creationId="{172123FE-0855-2A6B-3DE7-495EA8003110}"/>
          </ac:grpSpMkLst>
        </pc:grpChg>
        <pc:grpChg chg="mod">
          <ac:chgData name="Fatma Alsagaf" userId="ef587b5e-378a-4bb3-aa9f-3c15b98138a4" providerId="ADAL" clId="{F3341B03-BD87-4EA0-A2A2-0ADE2547CCEF}" dt="2023-08-21T07:54:00.793" v="2" actId="571"/>
          <ac:grpSpMkLst>
            <pc:docMk/>
            <pc:sldMk cId="884389446" sldId="2147377178"/>
            <ac:grpSpMk id="1225" creationId="{DAF0B3C2-1F1F-67F3-D453-54298B4B9CAC}"/>
          </ac:grpSpMkLst>
        </pc:grpChg>
        <pc:grpChg chg="mod">
          <ac:chgData name="Fatma Alsagaf" userId="ef587b5e-378a-4bb3-aa9f-3c15b98138a4" providerId="ADAL" clId="{F3341B03-BD87-4EA0-A2A2-0ADE2547CCEF}" dt="2023-08-21T07:54:00.793" v="2" actId="571"/>
          <ac:grpSpMkLst>
            <pc:docMk/>
            <pc:sldMk cId="884389446" sldId="2147377178"/>
            <ac:grpSpMk id="1235" creationId="{52C61586-7F4B-91B9-5010-8300C38F76F2}"/>
          </ac:grpSpMkLst>
        </pc:grpChg>
        <pc:grpChg chg="mod">
          <ac:chgData name="Fatma Alsagaf" userId="ef587b5e-378a-4bb3-aa9f-3c15b98138a4" providerId="ADAL" clId="{F3341B03-BD87-4EA0-A2A2-0ADE2547CCEF}" dt="2023-08-21T07:54:00.793" v="2" actId="571"/>
          <ac:grpSpMkLst>
            <pc:docMk/>
            <pc:sldMk cId="884389446" sldId="2147377178"/>
            <ac:grpSpMk id="1257" creationId="{5DCEC351-703E-3C2D-22B3-E1177A384C2F}"/>
          </ac:grpSpMkLst>
        </pc:grpChg>
        <pc:cxnChg chg="mod">
          <ac:chgData name="Fatma Alsagaf" userId="ef587b5e-378a-4bb3-aa9f-3c15b98138a4" providerId="ADAL" clId="{F3341B03-BD87-4EA0-A2A2-0ADE2547CCEF}" dt="2023-08-21T07:54:00.793" v="2" actId="571"/>
          <ac:cxnSpMkLst>
            <pc:docMk/>
            <pc:sldMk cId="884389446" sldId="2147377178"/>
            <ac:cxnSpMk id="5" creationId="{94BE4A5C-907E-52DC-D955-224ED8717079}"/>
          </ac:cxnSpMkLst>
        </pc:cxnChg>
        <pc:cxnChg chg="mod">
          <ac:chgData name="Fatma Alsagaf" userId="ef587b5e-378a-4bb3-aa9f-3c15b98138a4" providerId="ADAL" clId="{F3341B03-BD87-4EA0-A2A2-0ADE2547CCEF}" dt="2023-08-21T07:54:00.793" v="2" actId="571"/>
          <ac:cxnSpMkLst>
            <pc:docMk/>
            <pc:sldMk cId="884389446" sldId="2147377178"/>
            <ac:cxnSpMk id="6" creationId="{1A5AF79E-BF56-FC50-C94D-5D173819AAFA}"/>
          </ac:cxnSpMkLst>
        </pc:cxnChg>
        <pc:cxnChg chg="mod">
          <ac:chgData name="Fatma Alsagaf" userId="ef587b5e-378a-4bb3-aa9f-3c15b98138a4" providerId="ADAL" clId="{F3341B03-BD87-4EA0-A2A2-0ADE2547CCEF}" dt="2023-08-21T07:54:00.793" v="2" actId="571"/>
          <ac:cxnSpMkLst>
            <pc:docMk/>
            <pc:sldMk cId="884389446" sldId="2147377178"/>
            <ac:cxnSpMk id="8" creationId="{6D756861-8339-95B9-1A0B-B4E51EFB230C}"/>
          </ac:cxnSpMkLst>
        </pc:cxnChg>
        <pc:cxnChg chg="mod">
          <ac:chgData name="Fatma Alsagaf" userId="ef587b5e-378a-4bb3-aa9f-3c15b98138a4" providerId="ADAL" clId="{F3341B03-BD87-4EA0-A2A2-0ADE2547CCEF}" dt="2023-08-21T07:54:00.793" v="2" actId="571"/>
          <ac:cxnSpMkLst>
            <pc:docMk/>
            <pc:sldMk cId="884389446" sldId="2147377178"/>
            <ac:cxnSpMk id="9" creationId="{F0E6C400-8912-0E4D-9570-2612D7FB84D7}"/>
          </ac:cxnSpMkLst>
        </pc:cxnChg>
      </pc:sldChg>
    </pc:docChg>
  </pc:docChgLst>
  <pc:docChgLst>
    <pc:chgData name="Fatma Alsagaf" userId="ef587b5e-378a-4bb3-aa9f-3c15b98138a4" providerId="ADAL" clId="{4810666F-1EDC-4C21-8222-B9E12890C41D}"/>
    <pc:docChg chg="undo custSel modSld">
      <pc:chgData name="Fatma Alsagaf" userId="ef587b5e-378a-4bb3-aa9f-3c15b98138a4" providerId="ADAL" clId="{4810666F-1EDC-4C21-8222-B9E12890C41D}" dt="2023-08-21T10:43:20.210" v="133" actId="20577"/>
      <pc:docMkLst>
        <pc:docMk/>
      </pc:docMkLst>
      <pc:sldChg chg="modSp mod">
        <pc:chgData name="Fatma Alsagaf" userId="ef587b5e-378a-4bb3-aa9f-3c15b98138a4" providerId="ADAL" clId="{4810666F-1EDC-4C21-8222-B9E12890C41D}" dt="2023-08-21T07:56:16.789" v="1" actId="20577"/>
        <pc:sldMkLst>
          <pc:docMk/>
          <pc:sldMk cId="3394842380" sldId="2147377079"/>
        </pc:sldMkLst>
        <pc:spChg chg="mod">
          <ac:chgData name="Fatma Alsagaf" userId="ef587b5e-378a-4bb3-aa9f-3c15b98138a4" providerId="ADAL" clId="{4810666F-1EDC-4C21-8222-B9E12890C41D}" dt="2023-08-21T07:56:16.789" v="1" actId="20577"/>
          <ac:spMkLst>
            <pc:docMk/>
            <pc:sldMk cId="3394842380" sldId="2147377079"/>
            <ac:spMk id="8" creationId="{00000000-0000-0000-0000-000000000000}"/>
          </ac:spMkLst>
        </pc:spChg>
      </pc:sldChg>
      <pc:sldChg chg="modSp mod">
        <pc:chgData name="Fatma Alsagaf" userId="ef587b5e-378a-4bb3-aa9f-3c15b98138a4" providerId="ADAL" clId="{4810666F-1EDC-4C21-8222-B9E12890C41D}" dt="2023-08-21T08:01:26.303" v="60" actId="1076"/>
        <pc:sldMkLst>
          <pc:docMk/>
          <pc:sldMk cId="3312873017" sldId="2147377170"/>
        </pc:sldMkLst>
        <pc:spChg chg="mod">
          <ac:chgData name="Fatma Alsagaf" userId="ef587b5e-378a-4bb3-aa9f-3c15b98138a4" providerId="ADAL" clId="{4810666F-1EDC-4C21-8222-B9E12890C41D}" dt="2023-08-21T08:01:26.303" v="60" actId="1076"/>
          <ac:spMkLst>
            <pc:docMk/>
            <pc:sldMk cId="3312873017" sldId="2147377170"/>
            <ac:spMk id="41" creationId="{53435164-391A-D99C-7C24-BEF53B44C321}"/>
          </ac:spMkLst>
        </pc:spChg>
      </pc:sldChg>
      <pc:sldChg chg="modSp mod">
        <pc:chgData name="Fatma Alsagaf" userId="ef587b5e-378a-4bb3-aa9f-3c15b98138a4" providerId="ADAL" clId="{4810666F-1EDC-4C21-8222-B9E12890C41D}" dt="2023-08-21T08:02:21.812" v="63" actId="1076"/>
        <pc:sldMkLst>
          <pc:docMk/>
          <pc:sldMk cId="692795662" sldId="2147377172"/>
        </pc:sldMkLst>
        <pc:spChg chg="mod">
          <ac:chgData name="Fatma Alsagaf" userId="ef587b5e-378a-4bb3-aa9f-3c15b98138a4" providerId="ADAL" clId="{4810666F-1EDC-4C21-8222-B9E12890C41D}" dt="2023-08-21T08:02:21.812" v="63" actId="1076"/>
          <ac:spMkLst>
            <pc:docMk/>
            <pc:sldMk cId="692795662" sldId="2147377172"/>
            <ac:spMk id="41" creationId="{53435164-391A-D99C-7C24-BEF53B44C321}"/>
          </ac:spMkLst>
        </pc:spChg>
      </pc:sldChg>
      <pc:sldChg chg="modSp mod">
        <pc:chgData name="Fatma Alsagaf" userId="ef587b5e-378a-4bb3-aa9f-3c15b98138a4" providerId="ADAL" clId="{4810666F-1EDC-4C21-8222-B9E12890C41D}" dt="2023-08-21T08:02:34.497" v="75" actId="1037"/>
        <pc:sldMkLst>
          <pc:docMk/>
          <pc:sldMk cId="326889434" sldId="2147377174"/>
        </pc:sldMkLst>
        <pc:spChg chg="mod">
          <ac:chgData name="Fatma Alsagaf" userId="ef587b5e-378a-4bb3-aa9f-3c15b98138a4" providerId="ADAL" clId="{4810666F-1EDC-4C21-8222-B9E12890C41D}" dt="2023-08-21T08:02:34.497" v="75" actId="1037"/>
          <ac:spMkLst>
            <pc:docMk/>
            <pc:sldMk cId="326889434" sldId="2147377174"/>
            <ac:spMk id="41" creationId="{53435164-391A-D99C-7C24-BEF53B44C321}"/>
          </ac:spMkLst>
        </pc:spChg>
      </pc:sldChg>
      <pc:sldChg chg="delSp modSp mod">
        <pc:chgData name="Fatma Alsagaf" userId="ef587b5e-378a-4bb3-aa9f-3c15b98138a4" providerId="ADAL" clId="{4810666F-1EDC-4C21-8222-B9E12890C41D}" dt="2023-08-21T10:43:20.210" v="133" actId="20577"/>
        <pc:sldMkLst>
          <pc:docMk/>
          <pc:sldMk cId="884389446" sldId="2147377178"/>
        </pc:sldMkLst>
        <pc:spChg chg="mod">
          <ac:chgData name="Fatma Alsagaf" userId="ef587b5e-378a-4bb3-aa9f-3c15b98138a4" providerId="ADAL" clId="{4810666F-1EDC-4C21-8222-B9E12890C41D}" dt="2023-08-21T07:56:24.178" v="2"/>
          <ac:spMkLst>
            <pc:docMk/>
            <pc:sldMk cId="884389446" sldId="2147377178"/>
            <ac:spMk id="4" creationId="{D0D12A05-E2C4-C556-4237-8F219B8C80B2}"/>
          </ac:spMkLst>
        </pc:spChg>
        <pc:spChg chg="mod">
          <ac:chgData name="Fatma Alsagaf" userId="ef587b5e-378a-4bb3-aa9f-3c15b98138a4" providerId="ADAL" clId="{4810666F-1EDC-4C21-8222-B9E12890C41D}" dt="2023-08-21T08:04:03.889" v="88" actId="14100"/>
          <ac:spMkLst>
            <pc:docMk/>
            <pc:sldMk cId="884389446" sldId="2147377178"/>
            <ac:spMk id="56" creationId="{594345A9-F3E8-57E6-75BC-51AFF585B7DA}"/>
          </ac:spMkLst>
        </pc:spChg>
        <pc:spChg chg="mod">
          <ac:chgData name="Fatma Alsagaf" userId="ef587b5e-378a-4bb3-aa9f-3c15b98138a4" providerId="ADAL" clId="{4810666F-1EDC-4C21-8222-B9E12890C41D}" dt="2023-08-21T08:04:14.692" v="89" actId="14100"/>
          <ac:spMkLst>
            <pc:docMk/>
            <pc:sldMk cId="884389446" sldId="2147377178"/>
            <ac:spMk id="64" creationId="{536536B2-DA2C-A033-2319-9EA4B459F78E}"/>
          </ac:spMkLst>
        </pc:spChg>
        <pc:spChg chg="mod">
          <ac:chgData name="Fatma Alsagaf" userId="ef587b5e-378a-4bb3-aa9f-3c15b98138a4" providerId="ADAL" clId="{4810666F-1EDC-4C21-8222-B9E12890C41D}" dt="2023-08-21T08:00:48.416" v="53" actId="20577"/>
          <ac:spMkLst>
            <pc:docMk/>
            <pc:sldMk cId="884389446" sldId="2147377178"/>
            <ac:spMk id="71" creationId="{9CF2C56A-DA63-2639-97DF-2F5C4EDE1630}"/>
          </ac:spMkLst>
        </pc:spChg>
        <pc:spChg chg="mod topLvl">
          <ac:chgData name="Fatma Alsagaf" userId="ef587b5e-378a-4bb3-aa9f-3c15b98138a4" providerId="ADAL" clId="{4810666F-1EDC-4C21-8222-B9E12890C41D}" dt="2023-08-21T08:00:51.747" v="54" actId="478"/>
          <ac:spMkLst>
            <pc:docMk/>
            <pc:sldMk cId="884389446" sldId="2147377178"/>
            <ac:spMk id="85" creationId="{20E705F6-FA40-5530-E4E6-F502F3685A00}"/>
          </ac:spMkLst>
        </pc:spChg>
        <pc:spChg chg="mod">
          <ac:chgData name="Fatma Alsagaf" userId="ef587b5e-378a-4bb3-aa9f-3c15b98138a4" providerId="ADAL" clId="{4810666F-1EDC-4C21-8222-B9E12890C41D}" dt="2023-08-21T08:05:03.732" v="93" actId="14100"/>
          <ac:spMkLst>
            <pc:docMk/>
            <pc:sldMk cId="884389446" sldId="2147377178"/>
            <ac:spMk id="1135" creationId="{5623696E-978A-90DC-1451-391BCD63EBE5}"/>
          </ac:spMkLst>
        </pc:spChg>
        <pc:spChg chg="mod">
          <ac:chgData name="Fatma Alsagaf" userId="ef587b5e-378a-4bb3-aa9f-3c15b98138a4" providerId="ADAL" clId="{4810666F-1EDC-4C21-8222-B9E12890C41D}" dt="2023-08-21T08:04:25.080" v="90" actId="14100"/>
          <ac:spMkLst>
            <pc:docMk/>
            <pc:sldMk cId="884389446" sldId="2147377178"/>
            <ac:spMk id="1143" creationId="{C31C3C76-848E-7F7E-EDCF-14B4E18E03E9}"/>
          </ac:spMkLst>
        </pc:spChg>
        <pc:spChg chg="mod">
          <ac:chgData name="Fatma Alsagaf" userId="ef587b5e-378a-4bb3-aa9f-3c15b98138a4" providerId="ADAL" clId="{4810666F-1EDC-4C21-8222-B9E12890C41D}" dt="2023-08-21T08:00:17.061" v="44" actId="14100"/>
          <ac:spMkLst>
            <pc:docMk/>
            <pc:sldMk cId="884389446" sldId="2147377178"/>
            <ac:spMk id="1215" creationId="{9570993C-0596-2B65-FB13-EE8C34BA445D}"/>
          </ac:spMkLst>
        </pc:spChg>
        <pc:spChg chg="mod">
          <ac:chgData name="Fatma Alsagaf" userId="ef587b5e-378a-4bb3-aa9f-3c15b98138a4" providerId="ADAL" clId="{4810666F-1EDC-4C21-8222-B9E12890C41D}" dt="2023-08-21T10:42:58.629" v="115" actId="20577"/>
          <ac:spMkLst>
            <pc:docMk/>
            <pc:sldMk cId="884389446" sldId="2147377178"/>
            <ac:spMk id="1216" creationId="{9F450735-C6D4-06E6-8486-4CBA0FB1B38F}"/>
          </ac:spMkLst>
        </pc:spChg>
        <pc:spChg chg="mod">
          <ac:chgData name="Fatma Alsagaf" userId="ef587b5e-378a-4bb3-aa9f-3c15b98138a4" providerId="ADAL" clId="{4810666F-1EDC-4C21-8222-B9E12890C41D}" dt="2023-08-21T10:42:52.405" v="109" actId="20577"/>
          <ac:spMkLst>
            <pc:docMk/>
            <pc:sldMk cId="884389446" sldId="2147377178"/>
            <ac:spMk id="1217" creationId="{9F92D10B-A4BE-1FEB-2E5A-8F2EA5E1B4B4}"/>
          </ac:spMkLst>
        </pc:spChg>
        <pc:spChg chg="mod">
          <ac:chgData name="Fatma Alsagaf" userId="ef587b5e-378a-4bb3-aa9f-3c15b98138a4" providerId="ADAL" clId="{4810666F-1EDC-4C21-8222-B9E12890C41D}" dt="2023-08-21T07:59:57.707" v="42" actId="1076"/>
          <ac:spMkLst>
            <pc:docMk/>
            <pc:sldMk cId="884389446" sldId="2147377178"/>
            <ac:spMk id="1218" creationId="{65114EEB-1CFE-9BC0-5465-4D42483C4A10}"/>
          </ac:spMkLst>
        </pc:spChg>
        <pc:spChg chg="mod">
          <ac:chgData name="Fatma Alsagaf" userId="ef587b5e-378a-4bb3-aa9f-3c15b98138a4" providerId="ADAL" clId="{4810666F-1EDC-4C21-8222-B9E12890C41D}" dt="2023-08-21T08:00:27.376" v="47" actId="14100"/>
          <ac:spMkLst>
            <pc:docMk/>
            <pc:sldMk cId="884389446" sldId="2147377178"/>
            <ac:spMk id="1238" creationId="{14F49049-9FB3-B95D-C130-5525BAC8E225}"/>
          </ac:spMkLst>
        </pc:spChg>
        <pc:spChg chg="mod">
          <ac:chgData name="Fatma Alsagaf" userId="ef587b5e-378a-4bb3-aa9f-3c15b98138a4" providerId="ADAL" clId="{4810666F-1EDC-4C21-8222-B9E12890C41D}" dt="2023-08-21T10:43:20.210" v="133" actId="20577"/>
          <ac:spMkLst>
            <pc:docMk/>
            <pc:sldMk cId="884389446" sldId="2147377178"/>
            <ac:spMk id="1239" creationId="{64D81084-FAB1-1FA3-0CCF-C685C5E678B5}"/>
          </ac:spMkLst>
        </pc:spChg>
        <pc:spChg chg="mod">
          <ac:chgData name="Fatma Alsagaf" userId="ef587b5e-378a-4bb3-aa9f-3c15b98138a4" providerId="ADAL" clId="{4810666F-1EDC-4C21-8222-B9E12890C41D}" dt="2023-08-21T10:43:05.491" v="119" actId="20577"/>
          <ac:spMkLst>
            <pc:docMk/>
            <pc:sldMk cId="884389446" sldId="2147377178"/>
            <ac:spMk id="1240" creationId="{09F68519-8EE9-8E74-1EFB-B84065CCA534}"/>
          </ac:spMkLst>
        </pc:spChg>
        <pc:spChg chg="mod">
          <ac:chgData name="Fatma Alsagaf" userId="ef587b5e-378a-4bb3-aa9f-3c15b98138a4" providerId="ADAL" clId="{4810666F-1EDC-4C21-8222-B9E12890C41D}" dt="2023-08-21T08:00:06.025" v="43" actId="1076"/>
          <ac:spMkLst>
            <pc:docMk/>
            <pc:sldMk cId="884389446" sldId="2147377178"/>
            <ac:spMk id="1241" creationId="{1D71184F-862B-4F18-8AD6-62F1ED56C979}"/>
          </ac:spMkLst>
        </pc:spChg>
        <pc:spChg chg="mod">
          <ac:chgData name="Fatma Alsagaf" userId="ef587b5e-378a-4bb3-aa9f-3c15b98138a4" providerId="ADAL" clId="{4810666F-1EDC-4C21-8222-B9E12890C41D}" dt="2023-08-21T07:57:50.153" v="11" actId="6549"/>
          <ac:spMkLst>
            <pc:docMk/>
            <pc:sldMk cId="884389446" sldId="2147377178"/>
            <ac:spMk id="1245" creationId="{44B7D8B9-4B95-31F9-CB0B-64E393439074}"/>
          </ac:spMkLst>
        </pc:spChg>
        <pc:spChg chg="mod">
          <ac:chgData name="Fatma Alsagaf" userId="ef587b5e-378a-4bb3-aa9f-3c15b98138a4" providerId="ADAL" clId="{4810666F-1EDC-4C21-8222-B9E12890C41D}" dt="2023-08-21T07:58:02.564" v="14" actId="20577"/>
          <ac:spMkLst>
            <pc:docMk/>
            <pc:sldMk cId="884389446" sldId="2147377178"/>
            <ac:spMk id="1246" creationId="{BA3A32B2-7FC8-C1F2-E117-A510FD7F969B}"/>
          </ac:spMkLst>
        </pc:spChg>
        <pc:spChg chg="mod">
          <ac:chgData name="Fatma Alsagaf" userId="ef587b5e-378a-4bb3-aa9f-3c15b98138a4" providerId="ADAL" clId="{4810666F-1EDC-4C21-8222-B9E12890C41D}" dt="2023-08-21T07:59:24.895" v="35" actId="20577"/>
          <ac:spMkLst>
            <pc:docMk/>
            <pc:sldMk cId="884389446" sldId="2147377178"/>
            <ac:spMk id="1247" creationId="{C337FC8D-5117-6F31-7192-15CE883C0A81}"/>
          </ac:spMkLst>
        </pc:spChg>
        <pc:spChg chg="mod">
          <ac:chgData name="Fatma Alsagaf" userId="ef587b5e-378a-4bb3-aa9f-3c15b98138a4" providerId="ADAL" clId="{4810666F-1EDC-4C21-8222-B9E12890C41D}" dt="2023-08-21T07:59:19.718" v="29" actId="20577"/>
          <ac:spMkLst>
            <pc:docMk/>
            <pc:sldMk cId="884389446" sldId="2147377178"/>
            <ac:spMk id="1248" creationId="{607E6321-F27A-4450-DED0-A686937C78A3}"/>
          </ac:spMkLst>
        </pc:spChg>
        <pc:spChg chg="mod">
          <ac:chgData name="Fatma Alsagaf" userId="ef587b5e-378a-4bb3-aa9f-3c15b98138a4" providerId="ADAL" clId="{4810666F-1EDC-4C21-8222-B9E12890C41D}" dt="2023-08-21T07:58:09.698" v="17" actId="20577"/>
          <ac:spMkLst>
            <pc:docMk/>
            <pc:sldMk cId="884389446" sldId="2147377178"/>
            <ac:spMk id="1251" creationId="{7CE9E3F0-9706-9594-FEB8-BAEFF4DA8349}"/>
          </ac:spMkLst>
        </pc:spChg>
        <pc:spChg chg="mod">
          <ac:chgData name="Fatma Alsagaf" userId="ef587b5e-378a-4bb3-aa9f-3c15b98138a4" providerId="ADAL" clId="{4810666F-1EDC-4C21-8222-B9E12890C41D}" dt="2023-08-21T07:58:12.776" v="20" actId="20577"/>
          <ac:spMkLst>
            <pc:docMk/>
            <pc:sldMk cId="884389446" sldId="2147377178"/>
            <ac:spMk id="1252" creationId="{442498DD-7DB1-5657-1EBE-E1190FD9B360}"/>
          </ac:spMkLst>
        </pc:spChg>
        <pc:spChg chg="mod">
          <ac:chgData name="Fatma Alsagaf" userId="ef587b5e-378a-4bb3-aa9f-3c15b98138a4" providerId="ADAL" clId="{4810666F-1EDC-4C21-8222-B9E12890C41D}" dt="2023-08-21T07:59:27.482" v="37" actId="20577"/>
          <ac:spMkLst>
            <pc:docMk/>
            <pc:sldMk cId="884389446" sldId="2147377178"/>
            <ac:spMk id="1253" creationId="{1DCA665E-3E10-3BEE-8ACD-DE84BC92D381}"/>
          </ac:spMkLst>
        </pc:spChg>
        <pc:spChg chg="mod">
          <ac:chgData name="Fatma Alsagaf" userId="ef587b5e-378a-4bb3-aa9f-3c15b98138a4" providerId="ADAL" clId="{4810666F-1EDC-4C21-8222-B9E12890C41D}" dt="2023-08-21T08:05:21.233" v="97" actId="1037"/>
          <ac:spMkLst>
            <pc:docMk/>
            <pc:sldMk cId="884389446" sldId="2147377178"/>
            <ac:spMk id="1254" creationId="{C6DAFC9D-8E1C-9D98-03EB-CBC5798D68B8}"/>
          </ac:spMkLst>
        </pc:spChg>
        <pc:grpChg chg="del">
          <ac:chgData name="Fatma Alsagaf" userId="ef587b5e-378a-4bb3-aa9f-3c15b98138a4" providerId="ADAL" clId="{4810666F-1EDC-4C21-8222-B9E12890C41D}" dt="2023-08-21T08:00:51.747" v="54" actId="478"/>
          <ac:grpSpMkLst>
            <pc:docMk/>
            <pc:sldMk cId="884389446" sldId="2147377178"/>
            <ac:grpSpMk id="84" creationId="{9BFF20D7-2F05-8AC9-544A-95D9C06CC533}"/>
          </ac:grpSpMkLst>
        </pc:grpChg>
        <pc:graphicFrameChg chg="modGraphic">
          <ac:chgData name="Fatma Alsagaf" userId="ef587b5e-378a-4bb3-aa9f-3c15b98138a4" providerId="ADAL" clId="{4810666F-1EDC-4C21-8222-B9E12890C41D}" dt="2023-08-21T07:58:51.010" v="22" actId="20577"/>
          <ac:graphicFrameMkLst>
            <pc:docMk/>
            <pc:sldMk cId="884389446" sldId="2147377178"/>
            <ac:graphicFrameMk id="33" creationId="{BB1546A7-9F16-23AC-9BBB-0D4F9DE206F3}"/>
          </ac:graphicFrameMkLst>
        </pc:graphicFrameChg>
        <pc:cxnChg chg="del topLvl">
          <ac:chgData name="Fatma Alsagaf" userId="ef587b5e-378a-4bb3-aa9f-3c15b98138a4" providerId="ADAL" clId="{4810666F-1EDC-4C21-8222-B9E12890C41D}" dt="2023-08-21T08:00:51.747" v="54" actId="478"/>
          <ac:cxnSpMkLst>
            <pc:docMk/>
            <pc:sldMk cId="884389446" sldId="2147377178"/>
            <ac:cxnSpMk id="86" creationId="{C2D93730-3861-A692-2FB4-0944F6C6D778}"/>
          </ac:cxnSpMkLst>
        </pc:cxnChg>
      </pc:sldChg>
      <pc:sldChg chg="modSp mod">
        <pc:chgData name="Fatma Alsagaf" userId="ef587b5e-378a-4bb3-aa9f-3c15b98138a4" providerId="ADAL" clId="{4810666F-1EDC-4C21-8222-B9E12890C41D}" dt="2023-08-21T08:02:57.135" v="87" actId="20577"/>
        <pc:sldMkLst>
          <pc:docMk/>
          <pc:sldMk cId="1735074405" sldId="2147377182"/>
        </pc:sldMkLst>
        <pc:graphicFrameChg chg="modGraphic">
          <ac:chgData name="Fatma Alsagaf" userId="ef587b5e-378a-4bb3-aa9f-3c15b98138a4" providerId="ADAL" clId="{4810666F-1EDC-4C21-8222-B9E12890C41D}" dt="2023-08-21T08:02:57.135" v="87" actId="20577"/>
          <ac:graphicFrameMkLst>
            <pc:docMk/>
            <pc:sldMk cId="1735074405" sldId="2147377182"/>
            <ac:graphicFrameMk id="2" creationId="{85AD278D-FDCE-CAA0-DB17-5815EABFB949}"/>
          </ac:graphicFrameMkLst>
        </pc:graphicFrameChg>
      </pc:sldChg>
    </pc:docChg>
  </pc:docChgLst>
  <pc:docChgLst>
    <pc:chgData name="Fatma Alsagaf" userId="ef587b5e-378a-4bb3-aa9f-3c15b98138a4" providerId="ADAL" clId="{970C8D05-B85F-4AAE-B261-D7FBE6C18B7C}"/>
    <pc:docChg chg="undo redo custSel modSld">
      <pc:chgData name="Fatma Alsagaf" userId="ef587b5e-378a-4bb3-aa9f-3c15b98138a4" providerId="ADAL" clId="{970C8D05-B85F-4AAE-B261-D7FBE6C18B7C}" dt="2023-08-21T06:01:31.158" v="860" actId="1037"/>
      <pc:docMkLst>
        <pc:docMk/>
      </pc:docMkLst>
      <pc:sldChg chg="addSp modSp mod">
        <pc:chgData name="Fatma Alsagaf" userId="ef587b5e-378a-4bb3-aa9f-3c15b98138a4" providerId="ADAL" clId="{970C8D05-B85F-4AAE-B261-D7FBE6C18B7C}" dt="2023-08-21T05:39:06.948" v="544"/>
        <pc:sldMkLst>
          <pc:docMk/>
          <pc:sldMk cId="3394842380" sldId="2147377079"/>
        </pc:sldMkLst>
        <pc:spChg chg="mod">
          <ac:chgData name="Fatma Alsagaf" userId="ef587b5e-378a-4bb3-aa9f-3c15b98138a4" providerId="ADAL" clId="{970C8D05-B85F-4AAE-B261-D7FBE6C18B7C}" dt="2023-08-21T05:23:33.462" v="401" actId="1076"/>
          <ac:spMkLst>
            <pc:docMk/>
            <pc:sldMk cId="3394842380" sldId="2147377079"/>
            <ac:spMk id="8" creationId="{00000000-0000-0000-0000-000000000000}"/>
          </ac:spMkLst>
        </pc:spChg>
        <pc:picChg chg="add mod">
          <ac:chgData name="Fatma Alsagaf" userId="ef587b5e-378a-4bb3-aa9f-3c15b98138a4" providerId="ADAL" clId="{970C8D05-B85F-4AAE-B261-D7FBE6C18B7C}" dt="2023-08-21T05:11:04.963" v="386" actId="1076"/>
          <ac:picMkLst>
            <pc:docMk/>
            <pc:sldMk cId="3394842380" sldId="2147377079"/>
            <ac:picMk id="2" creationId="{F3157346-DFEB-ADD2-6103-707E5534B43E}"/>
          </ac:picMkLst>
        </pc:picChg>
        <pc:picChg chg="add mod">
          <ac:chgData name="Fatma Alsagaf" userId="ef587b5e-378a-4bb3-aa9f-3c15b98138a4" providerId="ADAL" clId="{970C8D05-B85F-4AAE-B261-D7FBE6C18B7C}" dt="2023-08-21T05:39:06.948" v="544"/>
          <ac:picMkLst>
            <pc:docMk/>
            <pc:sldMk cId="3394842380" sldId="2147377079"/>
            <ac:picMk id="3" creationId="{F54A26B7-7288-8C5E-67E0-C965E23A3CA6}"/>
          </ac:picMkLst>
        </pc:picChg>
      </pc:sldChg>
      <pc:sldChg chg="modSp mod">
        <pc:chgData name="Fatma Alsagaf" userId="ef587b5e-378a-4bb3-aa9f-3c15b98138a4" providerId="ADAL" clId="{970C8D05-B85F-4AAE-B261-D7FBE6C18B7C}" dt="2023-08-21T05:24:14.625" v="414" actId="20577"/>
        <pc:sldMkLst>
          <pc:docMk/>
          <pc:sldMk cId="3312873017" sldId="2147377170"/>
        </pc:sldMkLst>
        <pc:spChg chg="mod">
          <ac:chgData name="Fatma Alsagaf" userId="ef587b5e-378a-4bb3-aa9f-3c15b98138a4" providerId="ADAL" clId="{970C8D05-B85F-4AAE-B261-D7FBE6C18B7C}" dt="2023-08-21T05:24:14.625" v="414" actId="20577"/>
          <ac:spMkLst>
            <pc:docMk/>
            <pc:sldMk cId="3312873017" sldId="2147377170"/>
            <ac:spMk id="3" creationId="{852407B0-0573-CDC9-50DD-E8096290CE8D}"/>
          </ac:spMkLst>
        </pc:spChg>
        <pc:spChg chg="mod">
          <ac:chgData name="Fatma Alsagaf" userId="ef587b5e-378a-4bb3-aa9f-3c15b98138a4" providerId="ADAL" clId="{970C8D05-B85F-4AAE-B261-D7FBE6C18B7C}" dt="2023-08-21T04:16:01.293" v="185" actId="2711"/>
          <ac:spMkLst>
            <pc:docMk/>
            <pc:sldMk cId="3312873017" sldId="2147377170"/>
            <ac:spMk id="74" creationId="{BA804DB7-AAFA-F9EA-7268-35EC3E4481D5}"/>
          </ac:spMkLst>
        </pc:spChg>
      </pc:sldChg>
      <pc:sldChg chg="modSp mod">
        <pc:chgData name="Fatma Alsagaf" userId="ef587b5e-378a-4bb3-aa9f-3c15b98138a4" providerId="ADAL" clId="{970C8D05-B85F-4AAE-B261-D7FBE6C18B7C}" dt="2023-08-21T05:23:49.943" v="406" actId="20577"/>
        <pc:sldMkLst>
          <pc:docMk/>
          <pc:sldMk cId="692795662" sldId="2147377172"/>
        </pc:sldMkLst>
        <pc:spChg chg="mod">
          <ac:chgData name="Fatma Alsagaf" userId="ef587b5e-378a-4bb3-aa9f-3c15b98138a4" providerId="ADAL" clId="{970C8D05-B85F-4AAE-B261-D7FBE6C18B7C}" dt="2023-08-21T05:23:49.943" v="406" actId="20577"/>
          <ac:spMkLst>
            <pc:docMk/>
            <pc:sldMk cId="692795662" sldId="2147377172"/>
            <ac:spMk id="3" creationId="{852407B0-0573-CDC9-50DD-E8096290CE8D}"/>
          </ac:spMkLst>
        </pc:spChg>
      </pc:sldChg>
      <pc:sldChg chg="modSp mod">
        <pc:chgData name="Fatma Alsagaf" userId="ef587b5e-378a-4bb3-aa9f-3c15b98138a4" providerId="ADAL" clId="{970C8D05-B85F-4AAE-B261-D7FBE6C18B7C}" dt="2023-08-21T04:18:24.612" v="227" actId="20577"/>
        <pc:sldMkLst>
          <pc:docMk/>
          <pc:sldMk cId="326889434" sldId="2147377174"/>
        </pc:sldMkLst>
        <pc:spChg chg="mod">
          <ac:chgData name="Fatma Alsagaf" userId="ef587b5e-378a-4bb3-aa9f-3c15b98138a4" providerId="ADAL" clId="{970C8D05-B85F-4AAE-B261-D7FBE6C18B7C}" dt="2023-08-21T04:18:24.612" v="227" actId="20577"/>
          <ac:spMkLst>
            <pc:docMk/>
            <pc:sldMk cId="326889434" sldId="2147377174"/>
            <ac:spMk id="2" creationId="{CF412A6A-3DFE-D247-06C4-338FD736E062}"/>
          </ac:spMkLst>
        </pc:spChg>
        <pc:spChg chg="mod">
          <ac:chgData name="Fatma Alsagaf" userId="ef587b5e-378a-4bb3-aa9f-3c15b98138a4" providerId="ADAL" clId="{970C8D05-B85F-4AAE-B261-D7FBE6C18B7C}" dt="2023-08-21T04:15:18.502" v="183" actId="2711"/>
          <ac:spMkLst>
            <pc:docMk/>
            <pc:sldMk cId="326889434" sldId="2147377174"/>
            <ac:spMk id="56" creationId="{A397FC5B-694D-6532-1DF5-27FC229FDE34}"/>
          </ac:spMkLst>
        </pc:spChg>
        <pc:spChg chg="mod">
          <ac:chgData name="Fatma Alsagaf" userId="ef587b5e-378a-4bb3-aa9f-3c15b98138a4" providerId="ADAL" clId="{970C8D05-B85F-4AAE-B261-D7FBE6C18B7C}" dt="2023-08-21T04:16:36.077" v="205" actId="207"/>
          <ac:spMkLst>
            <pc:docMk/>
            <pc:sldMk cId="326889434" sldId="2147377174"/>
            <ac:spMk id="70" creationId="{93608FF2-453F-E721-1FD6-C462C34559A7}"/>
          </ac:spMkLst>
        </pc:spChg>
        <pc:spChg chg="mod">
          <ac:chgData name="Fatma Alsagaf" userId="ef587b5e-378a-4bb3-aa9f-3c15b98138a4" providerId="ADAL" clId="{970C8D05-B85F-4AAE-B261-D7FBE6C18B7C}" dt="2023-08-21T04:14:41.565" v="181" actId="2711"/>
          <ac:spMkLst>
            <pc:docMk/>
            <pc:sldMk cId="326889434" sldId="2147377174"/>
            <ac:spMk id="74" creationId="{BA804DB7-AAFA-F9EA-7268-35EC3E4481D5}"/>
          </ac:spMkLst>
        </pc:spChg>
      </pc:sldChg>
      <pc:sldChg chg="modSp mod">
        <pc:chgData name="Fatma Alsagaf" userId="ef587b5e-378a-4bb3-aa9f-3c15b98138a4" providerId="ADAL" clId="{970C8D05-B85F-4AAE-B261-D7FBE6C18B7C}" dt="2023-08-21T05:47:18.893" v="824" actId="20577"/>
        <pc:sldMkLst>
          <pc:docMk/>
          <pc:sldMk cId="2463444985" sldId="2147377175"/>
        </pc:sldMkLst>
        <pc:spChg chg="mod">
          <ac:chgData name="Fatma Alsagaf" userId="ef587b5e-378a-4bb3-aa9f-3c15b98138a4" providerId="ADAL" clId="{970C8D05-B85F-4AAE-B261-D7FBE6C18B7C}" dt="2023-08-21T05:47:18.893" v="824" actId="20577"/>
          <ac:spMkLst>
            <pc:docMk/>
            <pc:sldMk cId="2463444985" sldId="2147377175"/>
            <ac:spMk id="7" creationId="{C2A6BE95-704F-5333-793E-A7A02C6FE465}"/>
          </ac:spMkLst>
        </pc:spChg>
        <pc:spChg chg="mod">
          <ac:chgData name="Fatma Alsagaf" userId="ef587b5e-378a-4bb3-aa9f-3c15b98138a4" providerId="ADAL" clId="{970C8D05-B85F-4AAE-B261-D7FBE6C18B7C}" dt="2023-08-21T04:22:35.855" v="249" actId="207"/>
          <ac:spMkLst>
            <pc:docMk/>
            <pc:sldMk cId="2463444985" sldId="2147377175"/>
            <ac:spMk id="44" creationId="{16D1CB68-BE17-0493-502F-A8468618B270}"/>
          </ac:spMkLst>
        </pc:spChg>
        <pc:spChg chg="mod">
          <ac:chgData name="Fatma Alsagaf" userId="ef587b5e-378a-4bb3-aa9f-3c15b98138a4" providerId="ADAL" clId="{970C8D05-B85F-4AAE-B261-D7FBE6C18B7C}" dt="2023-08-21T05:23:44.430" v="404" actId="207"/>
          <ac:spMkLst>
            <pc:docMk/>
            <pc:sldMk cId="2463444985" sldId="2147377175"/>
            <ac:spMk id="101" creationId="{6F91CD83-CBC3-EC2C-4354-91B6A092A194}"/>
          </ac:spMkLst>
        </pc:spChg>
        <pc:spChg chg="mod">
          <ac:chgData name="Fatma Alsagaf" userId="ef587b5e-378a-4bb3-aa9f-3c15b98138a4" providerId="ADAL" clId="{970C8D05-B85F-4AAE-B261-D7FBE6C18B7C}" dt="2023-08-21T05:23:44.430" v="404" actId="207"/>
          <ac:spMkLst>
            <pc:docMk/>
            <pc:sldMk cId="2463444985" sldId="2147377175"/>
            <ac:spMk id="125" creationId="{2C035CF7-8496-EF20-2902-E171E8CA5A98}"/>
          </ac:spMkLst>
        </pc:spChg>
        <pc:spChg chg="mod">
          <ac:chgData name="Fatma Alsagaf" userId="ef587b5e-378a-4bb3-aa9f-3c15b98138a4" providerId="ADAL" clId="{970C8D05-B85F-4AAE-B261-D7FBE6C18B7C}" dt="2023-08-21T05:23:44.430" v="404" actId="207"/>
          <ac:spMkLst>
            <pc:docMk/>
            <pc:sldMk cId="2463444985" sldId="2147377175"/>
            <ac:spMk id="126" creationId="{E4AF11FA-56C0-5D04-ABF4-DEEFD737516F}"/>
          </ac:spMkLst>
        </pc:spChg>
        <pc:spChg chg="mod">
          <ac:chgData name="Fatma Alsagaf" userId="ef587b5e-378a-4bb3-aa9f-3c15b98138a4" providerId="ADAL" clId="{970C8D05-B85F-4AAE-B261-D7FBE6C18B7C}" dt="2023-08-21T05:23:44.430" v="404" actId="207"/>
          <ac:spMkLst>
            <pc:docMk/>
            <pc:sldMk cId="2463444985" sldId="2147377175"/>
            <ac:spMk id="127" creationId="{57EB4B87-2360-D57C-3957-6D6B852BF4E9}"/>
          </ac:spMkLst>
        </pc:spChg>
        <pc:grpChg chg="mod">
          <ac:chgData name="Fatma Alsagaf" userId="ef587b5e-378a-4bb3-aa9f-3c15b98138a4" providerId="ADAL" clId="{970C8D05-B85F-4AAE-B261-D7FBE6C18B7C}" dt="2023-08-21T05:23:44.430" v="404" actId="207"/>
          <ac:grpSpMkLst>
            <pc:docMk/>
            <pc:sldMk cId="2463444985" sldId="2147377175"/>
            <ac:grpSpMk id="4" creationId="{EA171597-37DF-A5BF-BE8A-2805C4CABDE6}"/>
          </ac:grpSpMkLst>
        </pc:grpChg>
        <pc:graphicFrameChg chg="modGraphic">
          <ac:chgData name="Fatma Alsagaf" userId="ef587b5e-378a-4bb3-aa9f-3c15b98138a4" providerId="ADAL" clId="{970C8D05-B85F-4AAE-B261-D7FBE6C18B7C}" dt="2023-08-21T04:20:55.207" v="248" actId="14734"/>
          <ac:graphicFrameMkLst>
            <pc:docMk/>
            <pc:sldMk cId="2463444985" sldId="2147377175"/>
            <ac:graphicFrameMk id="102" creationId="{8303A161-518D-1552-049A-2A95D2E3648A}"/>
          </ac:graphicFrameMkLst>
        </pc:graphicFrameChg>
      </pc:sldChg>
      <pc:sldChg chg="addSp delSp modSp mod">
        <pc:chgData name="Fatma Alsagaf" userId="ef587b5e-378a-4bb3-aa9f-3c15b98138a4" providerId="ADAL" clId="{970C8D05-B85F-4AAE-B261-D7FBE6C18B7C}" dt="2023-08-21T06:01:31.158" v="860" actId="1037"/>
        <pc:sldMkLst>
          <pc:docMk/>
          <pc:sldMk cId="884389446" sldId="2147377178"/>
        </pc:sldMkLst>
        <pc:spChg chg="mod">
          <ac:chgData name="Fatma Alsagaf" userId="ef587b5e-378a-4bb3-aa9f-3c15b98138a4" providerId="ADAL" clId="{970C8D05-B85F-4AAE-B261-D7FBE6C18B7C}" dt="2023-08-21T04:18:00.306" v="215" actId="20577"/>
          <ac:spMkLst>
            <pc:docMk/>
            <pc:sldMk cId="884389446" sldId="2147377178"/>
            <ac:spMk id="4" creationId="{D0D12A05-E2C4-C556-4237-8F219B8C80B2}"/>
          </ac:spMkLst>
        </pc:spChg>
        <pc:spChg chg="mod">
          <ac:chgData name="Fatma Alsagaf" userId="ef587b5e-378a-4bb3-aa9f-3c15b98138a4" providerId="ADAL" clId="{970C8D05-B85F-4AAE-B261-D7FBE6C18B7C}" dt="2023-08-21T05:28:41.137" v="463" actId="1035"/>
          <ac:spMkLst>
            <pc:docMk/>
            <pc:sldMk cId="884389446" sldId="2147377178"/>
            <ac:spMk id="10" creationId="{57FC518B-7BC4-B181-6CAC-07A9F25B84EB}"/>
          </ac:spMkLst>
        </pc:spChg>
        <pc:spChg chg="mod">
          <ac:chgData name="Fatma Alsagaf" userId="ef587b5e-378a-4bb3-aa9f-3c15b98138a4" providerId="ADAL" clId="{970C8D05-B85F-4AAE-B261-D7FBE6C18B7C}" dt="2023-08-21T04:08:04.603" v="98" actId="20577"/>
          <ac:spMkLst>
            <pc:docMk/>
            <pc:sldMk cId="884389446" sldId="2147377178"/>
            <ac:spMk id="12" creationId="{C75951E2-F848-47C6-14D3-D16A1F5CB9E8}"/>
          </ac:spMkLst>
        </pc:spChg>
        <pc:spChg chg="mod">
          <ac:chgData name="Fatma Alsagaf" userId="ef587b5e-378a-4bb3-aa9f-3c15b98138a4" providerId="ADAL" clId="{970C8D05-B85F-4AAE-B261-D7FBE6C18B7C}" dt="2023-08-21T05:28:41.137" v="463" actId="1035"/>
          <ac:spMkLst>
            <pc:docMk/>
            <pc:sldMk cId="884389446" sldId="2147377178"/>
            <ac:spMk id="14" creationId="{165475FF-FDB0-1AB5-39D2-A565F7DD26DA}"/>
          </ac:spMkLst>
        </pc:spChg>
        <pc:spChg chg="mod">
          <ac:chgData name="Fatma Alsagaf" userId="ef587b5e-378a-4bb3-aa9f-3c15b98138a4" providerId="ADAL" clId="{970C8D05-B85F-4AAE-B261-D7FBE6C18B7C}" dt="2023-08-21T05:28:41.137" v="463" actId="1035"/>
          <ac:spMkLst>
            <pc:docMk/>
            <pc:sldMk cId="884389446" sldId="2147377178"/>
            <ac:spMk id="15" creationId="{B2C306CA-7C46-4A5D-2A26-A5A86C3414CD}"/>
          </ac:spMkLst>
        </pc:spChg>
        <pc:spChg chg="mod">
          <ac:chgData name="Fatma Alsagaf" userId="ef587b5e-378a-4bb3-aa9f-3c15b98138a4" providerId="ADAL" clId="{970C8D05-B85F-4AAE-B261-D7FBE6C18B7C}" dt="2023-08-21T05:29:29.215" v="472" actId="1076"/>
          <ac:spMkLst>
            <pc:docMk/>
            <pc:sldMk cId="884389446" sldId="2147377178"/>
            <ac:spMk id="16" creationId="{789D8D58-A562-E320-BD06-CB8818A92DB7}"/>
          </ac:spMkLst>
        </pc:spChg>
        <pc:spChg chg="add del mod">
          <ac:chgData name="Fatma Alsagaf" userId="ef587b5e-378a-4bb3-aa9f-3c15b98138a4" providerId="ADAL" clId="{970C8D05-B85F-4AAE-B261-D7FBE6C18B7C}" dt="2023-08-21T05:24:33.918" v="416" actId="478"/>
          <ac:spMkLst>
            <pc:docMk/>
            <pc:sldMk cId="884389446" sldId="2147377178"/>
            <ac:spMk id="19" creationId="{8D48B0B6-2E63-DEDF-FD43-CB7BB0880393}"/>
          </ac:spMkLst>
        </pc:spChg>
        <pc:spChg chg="del">
          <ac:chgData name="Fatma Alsagaf" userId="ef587b5e-378a-4bb3-aa9f-3c15b98138a4" providerId="ADAL" clId="{970C8D05-B85F-4AAE-B261-D7FBE6C18B7C}" dt="2023-08-21T05:33:07.486" v="517" actId="478"/>
          <ac:spMkLst>
            <pc:docMk/>
            <pc:sldMk cId="884389446" sldId="2147377178"/>
            <ac:spMk id="26" creationId="{FEF17EFF-1B1A-15F2-3ACA-24903E93BA6E}"/>
          </ac:spMkLst>
        </pc:spChg>
        <pc:spChg chg="del">
          <ac:chgData name="Fatma Alsagaf" userId="ef587b5e-378a-4bb3-aa9f-3c15b98138a4" providerId="ADAL" clId="{970C8D05-B85F-4AAE-B261-D7FBE6C18B7C}" dt="2023-08-21T05:33:07.486" v="517" actId="478"/>
          <ac:spMkLst>
            <pc:docMk/>
            <pc:sldMk cId="884389446" sldId="2147377178"/>
            <ac:spMk id="27" creationId="{68253CD7-4C68-070C-9543-187BA789335A}"/>
          </ac:spMkLst>
        </pc:spChg>
        <pc:spChg chg="del">
          <ac:chgData name="Fatma Alsagaf" userId="ef587b5e-378a-4bb3-aa9f-3c15b98138a4" providerId="ADAL" clId="{970C8D05-B85F-4AAE-B261-D7FBE6C18B7C}" dt="2023-08-21T05:33:07.486" v="517" actId="478"/>
          <ac:spMkLst>
            <pc:docMk/>
            <pc:sldMk cId="884389446" sldId="2147377178"/>
            <ac:spMk id="28" creationId="{C3B4EA65-3429-59A6-FBF7-5836C64BE98D}"/>
          </ac:spMkLst>
        </pc:spChg>
        <pc:spChg chg="del">
          <ac:chgData name="Fatma Alsagaf" userId="ef587b5e-378a-4bb3-aa9f-3c15b98138a4" providerId="ADAL" clId="{970C8D05-B85F-4AAE-B261-D7FBE6C18B7C}" dt="2023-08-21T05:33:07.486" v="517" actId="478"/>
          <ac:spMkLst>
            <pc:docMk/>
            <pc:sldMk cId="884389446" sldId="2147377178"/>
            <ac:spMk id="29" creationId="{F043069E-0BAC-401C-C756-A0B6D870EE45}"/>
          </ac:spMkLst>
        </pc:spChg>
        <pc:spChg chg="mod">
          <ac:chgData name="Fatma Alsagaf" userId="ef587b5e-378a-4bb3-aa9f-3c15b98138a4" providerId="ADAL" clId="{970C8D05-B85F-4AAE-B261-D7FBE6C18B7C}" dt="2023-08-21T05:30:01.226" v="480" actId="1076"/>
          <ac:spMkLst>
            <pc:docMk/>
            <pc:sldMk cId="884389446" sldId="2147377178"/>
            <ac:spMk id="31" creationId="{92AF01E9-057F-E28B-7350-69B15F0AD8E7}"/>
          </ac:spMkLst>
        </pc:spChg>
        <pc:spChg chg="mod">
          <ac:chgData name="Fatma Alsagaf" userId="ef587b5e-378a-4bb3-aa9f-3c15b98138a4" providerId="ADAL" clId="{970C8D05-B85F-4AAE-B261-D7FBE6C18B7C}" dt="2023-08-21T05:59:47.907" v="847" actId="1037"/>
          <ac:spMkLst>
            <pc:docMk/>
            <pc:sldMk cId="884389446" sldId="2147377178"/>
            <ac:spMk id="53" creationId="{A5F00537-5B5A-8A48-93FA-48FAA6688716}"/>
          </ac:spMkLst>
        </pc:spChg>
        <pc:spChg chg="mod">
          <ac:chgData name="Fatma Alsagaf" userId="ef587b5e-378a-4bb3-aa9f-3c15b98138a4" providerId="ADAL" clId="{970C8D05-B85F-4AAE-B261-D7FBE6C18B7C}" dt="2023-08-21T05:59:47.907" v="847" actId="1037"/>
          <ac:spMkLst>
            <pc:docMk/>
            <pc:sldMk cId="884389446" sldId="2147377178"/>
            <ac:spMk id="57" creationId="{176E3A5E-C7EE-95B4-A5FB-46B62C3C9CBA}"/>
          </ac:spMkLst>
        </pc:spChg>
        <pc:spChg chg="mod">
          <ac:chgData name="Fatma Alsagaf" userId="ef587b5e-378a-4bb3-aa9f-3c15b98138a4" providerId="ADAL" clId="{970C8D05-B85F-4AAE-B261-D7FBE6C18B7C}" dt="2023-08-21T06:01:31.158" v="860" actId="1037"/>
          <ac:spMkLst>
            <pc:docMk/>
            <pc:sldMk cId="884389446" sldId="2147377178"/>
            <ac:spMk id="58" creationId="{7D015326-E93F-B888-0FAA-A24C9EDDF407}"/>
          </ac:spMkLst>
        </pc:spChg>
        <pc:spChg chg="mod">
          <ac:chgData name="Fatma Alsagaf" userId="ef587b5e-378a-4bb3-aa9f-3c15b98138a4" providerId="ADAL" clId="{970C8D05-B85F-4AAE-B261-D7FBE6C18B7C}" dt="2023-08-21T06:01:27.430" v="855" actId="1036"/>
          <ac:spMkLst>
            <pc:docMk/>
            <pc:sldMk cId="884389446" sldId="2147377178"/>
            <ac:spMk id="59" creationId="{7B10B06D-A465-765F-093E-0CE4FF2067CF}"/>
          </ac:spMkLst>
        </pc:spChg>
        <pc:spChg chg="del mod">
          <ac:chgData name="Fatma Alsagaf" userId="ef587b5e-378a-4bb3-aa9f-3c15b98138a4" providerId="ADAL" clId="{970C8D05-B85F-4AAE-B261-D7FBE6C18B7C}" dt="2023-08-21T05:43:22.155" v="740" actId="478"/>
          <ac:spMkLst>
            <pc:docMk/>
            <pc:sldMk cId="884389446" sldId="2147377178"/>
            <ac:spMk id="67" creationId="{0C28076D-6D43-9037-D493-6816ED957816}"/>
          </ac:spMkLst>
        </pc:spChg>
        <pc:spChg chg="mod">
          <ac:chgData name="Fatma Alsagaf" userId="ef587b5e-378a-4bb3-aa9f-3c15b98138a4" providerId="ADAL" clId="{970C8D05-B85F-4AAE-B261-D7FBE6C18B7C}" dt="2023-08-21T05:59:47.907" v="847" actId="1037"/>
          <ac:spMkLst>
            <pc:docMk/>
            <pc:sldMk cId="884389446" sldId="2147377178"/>
            <ac:spMk id="68" creationId="{A9313908-4DA0-6139-2188-E9F1576DDE51}"/>
          </ac:spMkLst>
        </pc:spChg>
        <pc:spChg chg="mod">
          <ac:chgData name="Fatma Alsagaf" userId="ef587b5e-378a-4bb3-aa9f-3c15b98138a4" providerId="ADAL" clId="{970C8D05-B85F-4AAE-B261-D7FBE6C18B7C}" dt="2023-08-21T05:59:47.907" v="847" actId="1037"/>
          <ac:spMkLst>
            <pc:docMk/>
            <pc:sldMk cId="884389446" sldId="2147377178"/>
            <ac:spMk id="69" creationId="{EFF98809-F66C-1B2E-E549-3206C1A6249E}"/>
          </ac:spMkLst>
        </pc:spChg>
        <pc:spChg chg="mod">
          <ac:chgData name="Fatma Alsagaf" userId="ef587b5e-378a-4bb3-aa9f-3c15b98138a4" providerId="ADAL" clId="{970C8D05-B85F-4AAE-B261-D7FBE6C18B7C}" dt="2023-08-21T05:59:47.907" v="847" actId="1037"/>
          <ac:spMkLst>
            <pc:docMk/>
            <pc:sldMk cId="884389446" sldId="2147377178"/>
            <ac:spMk id="70" creationId="{2E0E30D8-591E-09CF-E681-C897098BB425}"/>
          </ac:spMkLst>
        </pc:spChg>
        <pc:spChg chg="mod">
          <ac:chgData name="Fatma Alsagaf" userId="ef587b5e-378a-4bb3-aa9f-3c15b98138a4" providerId="ADAL" clId="{970C8D05-B85F-4AAE-B261-D7FBE6C18B7C}" dt="2023-08-21T05:28:10.242" v="439" actId="1076"/>
          <ac:spMkLst>
            <pc:docMk/>
            <pc:sldMk cId="884389446" sldId="2147377178"/>
            <ac:spMk id="71" creationId="{9CF2C56A-DA63-2639-97DF-2F5C4EDE1630}"/>
          </ac:spMkLst>
        </pc:spChg>
        <pc:spChg chg="mod">
          <ac:chgData name="Fatma Alsagaf" userId="ef587b5e-378a-4bb3-aa9f-3c15b98138a4" providerId="ADAL" clId="{970C8D05-B85F-4AAE-B261-D7FBE6C18B7C}" dt="2023-08-21T05:40:50.971" v="615" actId="1037"/>
          <ac:spMkLst>
            <pc:docMk/>
            <pc:sldMk cId="884389446" sldId="2147377178"/>
            <ac:spMk id="76" creationId="{985C933B-BC11-C285-4FF2-4CCB61135E80}"/>
          </ac:spMkLst>
        </pc:spChg>
        <pc:spChg chg="mod">
          <ac:chgData name="Fatma Alsagaf" userId="ef587b5e-378a-4bb3-aa9f-3c15b98138a4" providerId="ADAL" clId="{970C8D05-B85F-4AAE-B261-D7FBE6C18B7C}" dt="2023-08-21T05:40:50.971" v="615" actId="1037"/>
          <ac:spMkLst>
            <pc:docMk/>
            <pc:sldMk cId="884389446" sldId="2147377178"/>
            <ac:spMk id="77" creationId="{2CF8F3E1-89AD-C93C-26FE-2326542A5802}"/>
          </ac:spMkLst>
        </pc:spChg>
        <pc:spChg chg="mod">
          <ac:chgData name="Fatma Alsagaf" userId="ef587b5e-378a-4bb3-aa9f-3c15b98138a4" providerId="ADAL" clId="{970C8D05-B85F-4AAE-B261-D7FBE6C18B7C}" dt="2023-08-21T05:27:58.675" v="438" actId="1076"/>
          <ac:spMkLst>
            <pc:docMk/>
            <pc:sldMk cId="884389446" sldId="2147377178"/>
            <ac:spMk id="85" creationId="{20E705F6-FA40-5530-E4E6-F502F3685A00}"/>
          </ac:spMkLst>
        </pc:spChg>
        <pc:spChg chg="del">
          <ac:chgData name="Fatma Alsagaf" userId="ef587b5e-378a-4bb3-aa9f-3c15b98138a4" providerId="ADAL" clId="{970C8D05-B85F-4AAE-B261-D7FBE6C18B7C}" dt="2023-08-21T05:39:58.390" v="545" actId="478"/>
          <ac:spMkLst>
            <pc:docMk/>
            <pc:sldMk cId="884389446" sldId="2147377178"/>
            <ac:spMk id="91" creationId="{62E12DC6-0954-F171-5471-AC0E607F6CE6}"/>
          </ac:spMkLst>
        </pc:spChg>
        <pc:spChg chg="del">
          <ac:chgData name="Fatma Alsagaf" userId="ef587b5e-378a-4bb3-aa9f-3c15b98138a4" providerId="ADAL" clId="{970C8D05-B85F-4AAE-B261-D7FBE6C18B7C}" dt="2023-08-21T05:39:58.390" v="545" actId="478"/>
          <ac:spMkLst>
            <pc:docMk/>
            <pc:sldMk cId="884389446" sldId="2147377178"/>
            <ac:spMk id="94" creationId="{F68F57C3-393D-BD3B-BFAD-748AA5BCFA62}"/>
          </ac:spMkLst>
        </pc:spChg>
        <pc:spChg chg="add mod">
          <ac:chgData name="Fatma Alsagaf" userId="ef587b5e-378a-4bb3-aa9f-3c15b98138a4" providerId="ADAL" clId="{970C8D05-B85F-4AAE-B261-D7FBE6C18B7C}" dt="2023-08-21T05:35:57.403" v="527" actId="1036"/>
          <ac:spMkLst>
            <pc:docMk/>
            <pc:sldMk cId="884389446" sldId="2147377178"/>
            <ac:spMk id="102" creationId="{DEF7980C-8A74-24FA-9165-854456F07896}"/>
          </ac:spMkLst>
        </pc:spChg>
        <pc:spChg chg="add mod">
          <ac:chgData name="Fatma Alsagaf" userId="ef587b5e-378a-4bb3-aa9f-3c15b98138a4" providerId="ADAL" clId="{970C8D05-B85F-4AAE-B261-D7FBE6C18B7C}" dt="2023-08-21T05:35:57.403" v="527" actId="1036"/>
          <ac:spMkLst>
            <pc:docMk/>
            <pc:sldMk cId="884389446" sldId="2147377178"/>
            <ac:spMk id="103" creationId="{81F9BBF3-580A-0B33-18B0-91A06B522B2E}"/>
          </ac:spMkLst>
        </pc:spChg>
        <pc:spChg chg="add mod">
          <ac:chgData name="Fatma Alsagaf" userId="ef587b5e-378a-4bb3-aa9f-3c15b98138a4" providerId="ADAL" clId="{970C8D05-B85F-4AAE-B261-D7FBE6C18B7C}" dt="2023-08-21T05:35:57.403" v="527" actId="1036"/>
          <ac:spMkLst>
            <pc:docMk/>
            <pc:sldMk cId="884389446" sldId="2147377178"/>
            <ac:spMk id="104" creationId="{6D854BDD-DC6E-AA8F-2362-945F7F401C77}"/>
          </ac:spMkLst>
        </pc:spChg>
        <pc:spChg chg="add mod">
          <ac:chgData name="Fatma Alsagaf" userId="ef587b5e-378a-4bb3-aa9f-3c15b98138a4" providerId="ADAL" clId="{970C8D05-B85F-4AAE-B261-D7FBE6C18B7C}" dt="2023-08-21T05:35:57.403" v="527" actId="1036"/>
          <ac:spMkLst>
            <pc:docMk/>
            <pc:sldMk cId="884389446" sldId="2147377178"/>
            <ac:spMk id="105" creationId="{10BC734D-E456-1587-5D12-049B909A9A40}"/>
          </ac:spMkLst>
        </pc:spChg>
        <pc:spChg chg="del">
          <ac:chgData name="Fatma Alsagaf" userId="ef587b5e-378a-4bb3-aa9f-3c15b98138a4" providerId="ADAL" clId="{970C8D05-B85F-4AAE-B261-D7FBE6C18B7C}" dt="2023-08-21T05:39:58.390" v="545" actId="478"/>
          <ac:spMkLst>
            <pc:docMk/>
            <pc:sldMk cId="884389446" sldId="2147377178"/>
            <ac:spMk id="1047" creationId="{4AACF8A3-0E25-E49D-2B91-C36CA883277F}"/>
          </ac:spMkLst>
        </pc:spChg>
        <pc:spChg chg="del">
          <ac:chgData name="Fatma Alsagaf" userId="ef587b5e-378a-4bb3-aa9f-3c15b98138a4" providerId="ADAL" clId="{970C8D05-B85F-4AAE-B261-D7FBE6C18B7C}" dt="2023-08-21T05:39:58.390" v="545" actId="478"/>
          <ac:spMkLst>
            <pc:docMk/>
            <pc:sldMk cId="884389446" sldId="2147377178"/>
            <ac:spMk id="1147" creationId="{49A1AF66-E087-355A-3998-D592BFDA1FDF}"/>
          </ac:spMkLst>
        </pc:spChg>
        <pc:spChg chg="mod">
          <ac:chgData name="Fatma Alsagaf" userId="ef587b5e-378a-4bb3-aa9f-3c15b98138a4" providerId="ADAL" clId="{970C8D05-B85F-4AAE-B261-D7FBE6C18B7C}" dt="2023-08-21T04:31:03.793" v="325" actId="20577"/>
          <ac:spMkLst>
            <pc:docMk/>
            <pc:sldMk cId="884389446" sldId="2147377178"/>
            <ac:spMk id="1158" creationId="{625B54CC-5219-DDAE-1A0F-2330045E3908}"/>
          </ac:spMkLst>
        </pc:spChg>
        <pc:spChg chg="mod">
          <ac:chgData name="Fatma Alsagaf" userId="ef587b5e-378a-4bb3-aa9f-3c15b98138a4" providerId="ADAL" clId="{970C8D05-B85F-4AAE-B261-D7FBE6C18B7C}" dt="2023-08-21T05:38:51.094" v="543" actId="6549"/>
          <ac:spMkLst>
            <pc:docMk/>
            <pc:sldMk cId="884389446" sldId="2147377178"/>
            <ac:spMk id="1174" creationId="{4878A517-74CB-E3C6-F01B-EDF0F4BCE315}"/>
          </ac:spMkLst>
        </pc:spChg>
        <pc:spChg chg="mod">
          <ac:chgData name="Fatma Alsagaf" userId="ef587b5e-378a-4bb3-aa9f-3c15b98138a4" providerId="ADAL" clId="{970C8D05-B85F-4AAE-B261-D7FBE6C18B7C}" dt="2023-08-21T05:27:40.875" v="436" actId="14100"/>
          <ac:spMkLst>
            <pc:docMk/>
            <pc:sldMk cId="884389446" sldId="2147377178"/>
            <ac:spMk id="1213" creationId="{B80D55FD-85FB-F9FE-F95B-53FC6CC8678D}"/>
          </ac:spMkLst>
        </pc:spChg>
        <pc:spChg chg="mod">
          <ac:chgData name="Fatma Alsagaf" userId="ef587b5e-378a-4bb3-aa9f-3c15b98138a4" providerId="ADAL" clId="{970C8D05-B85F-4AAE-B261-D7FBE6C18B7C}" dt="2023-08-21T05:32:09.615" v="508" actId="14100"/>
          <ac:spMkLst>
            <pc:docMk/>
            <pc:sldMk cId="884389446" sldId="2147377178"/>
            <ac:spMk id="1214" creationId="{AF4827D6-D41C-729C-D903-D0C2D7E21DA4}"/>
          </ac:spMkLst>
        </pc:spChg>
        <pc:spChg chg="mod">
          <ac:chgData name="Fatma Alsagaf" userId="ef587b5e-378a-4bb3-aa9f-3c15b98138a4" providerId="ADAL" clId="{970C8D05-B85F-4AAE-B261-D7FBE6C18B7C}" dt="2023-08-21T05:32:14.180" v="510" actId="1076"/>
          <ac:spMkLst>
            <pc:docMk/>
            <pc:sldMk cId="884389446" sldId="2147377178"/>
            <ac:spMk id="1215" creationId="{9570993C-0596-2B65-FB13-EE8C34BA445D}"/>
          </ac:spMkLst>
        </pc:spChg>
        <pc:spChg chg="mod">
          <ac:chgData name="Fatma Alsagaf" userId="ef587b5e-378a-4bb3-aa9f-3c15b98138a4" providerId="ADAL" clId="{970C8D05-B85F-4AAE-B261-D7FBE6C18B7C}" dt="2023-08-21T05:32:26.310" v="515" actId="1076"/>
          <ac:spMkLst>
            <pc:docMk/>
            <pc:sldMk cId="884389446" sldId="2147377178"/>
            <ac:spMk id="1218" creationId="{65114EEB-1CFE-9BC0-5465-4D42483C4A10}"/>
          </ac:spMkLst>
        </pc:spChg>
        <pc:spChg chg="mod">
          <ac:chgData name="Fatma Alsagaf" userId="ef587b5e-378a-4bb3-aa9f-3c15b98138a4" providerId="ADAL" clId="{970C8D05-B85F-4AAE-B261-D7FBE6C18B7C}" dt="2023-08-21T05:27:45.005" v="437" actId="14100"/>
          <ac:spMkLst>
            <pc:docMk/>
            <pc:sldMk cId="884389446" sldId="2147377178"/>
            <ac:spMk id="1233" creationId="{73D47831-2FF8-B541-F0CC-F1C04470770B}"/>
          </ac:spMkLst>
        </pc:spChg>
        <pc:spChg chg="mod">
          <ac:chgData name="Fatma Alsagaf" userId="ef587b5e-378a-4bb3-aa9f-3c15b98138a4" providerId="ADAL" clId="{970C8D05-B85F-4AAE-B261-D7FBE6C18B7C}" dt="2023-08-21T05:25:39.050" v="431" actId="14100"/>
          <ac:spMkLst>
            <pc:docMk/>
            <pc:sldMk cId="884389446" sldId="2147377178"/>
            <ac:spMk id="1234" creationId="{C21BF11C-16DA-909E-27FC-97E3FEC97866}"/>
          </ac:spMkLst>
        </pc:spChg>
        <pc:spChg chg="mod">
          <ac:chgData name="Fatma Alsagaf" userId="ef587b5e-378a-4bb3-aa9f-3c15b98138a4" providerId="ADAL" clId="{970C8D05-B85F-4AAE-B261-D7FBE6C18B7C}" dt="2023-08-21T05:28:15.315" v="440" actId="14100"/>
          <ac:spMkLst>
            <pc:docMk/>
            <pc:sldMk cId="884389446" sldId="2147377178"/>
            <ac:spMk id="1236" creationId="{C8885B41-ABDD-AFAD-8EC9-A078DFD91425}"/>
          </ac:spMkLst>
        </pc:spChg>
        <pc:spChg chg="mod">
          <ac:chgData name="Fatma Alsagaf" userId="ef587b5e-378a-4bb3-aa9f-3c15b98138a4" providerId="ADAL" clId="{970C8D05-B85F-4AAE-B261-D7FBE6C18B7C}" dt="2023-08-21T05:37:39.325" v="536" actId="14100"/>
          <ac:spMkLst>
            <pc:docMk/>
            <pc:sldMk cId="884389446" sldId="2147377178"/>
            <ac:spMk id="1237" creationId="{50AD354D-457B-955D-E3EF-614AA9223050}"/>
          </ac:spMkLst>
        </pc:spChg>
        <pc:spChg chg="mod">
          <ac:chgData name="Fatma Alsagaf" userId="ef587b5e-378a-4bb3-aa9f-3c15b98138a4" providerId="ADAL" clId="{970C8D05-B85F-4AAE-B261-D7FBE6C18B7C}" dt="2023-08-21T05:38:13.970" v="541" actId="14100"/>
          <ac:spMkLst>
            <pc:docMk/>
            <pc:sldMk cId="884389446" sldId="2147377178"/>
            <ac:spMk id="1238" creationId="{14F49049-9FB3-B95D-C130-5525BAC8E225}"/>
          </ac:spMkLst>
        </pc:spChg>
        <pc:spChg chg="mod">
          <ac:chgData name="Fatma Alsagaf" userId="ef587b5e-378a-4bb3-aa9f-3c15b98138a4" providerId="ADAL" clId="{970C8D05-B85F-4AAE-B261-D7FBE6C18B7C}" dt="2023-08-21T05:38:31.799" v="542" actId="1076"/>
          <ac:spMkLst>
            <pc:docMk/>
            <pc:sldMk cId="884389446" sldId="2147377178"/>
            <ac:spMk id="1241" creationId="{1D71184F-862B-4F18-8AD6-62F1ED56C979}"/>
          </ac:spMkLst>
        </pc:spChg>
        <pc:spChg chg="mod">
          <ac:chgData name="Fatma Alsagaf" userId="ef587b5e-378a-4bb3-aa9f-3c15b98138a4" providerId="ADAL" clId="{970C8D05-B85F-4AAE-B261-D7FBE6C18B7C}" dt="2023-08-21T05:41:18.402" v="616" actId="164"/>
          <ac:spMkLst>
            <pc:docMk/>
            <pc:sldMk cId="884389446" sldId="2147377178"/>
            <ac:spMk id="1251" creationId="{7CE9E3F0-9706-9594-FEB8-BAEFF4DA8349}"/>
          </ac:spMkLst>
        </pc:spChg>
        <pc:spChg chg="mod">
          <ac:chgData name="Fatma Alsagaf" userId="ef587b5e-378a-4bb3-aa9f-3c15b98138a4" providerId="ADAL" clId="{970C8D05-B85F-4AAE-B261-D7FBE6C18B7C}" dt="2023-08-21T05:41:18.402" v="616" actId="164"/>
          <ac:spMkLst>
            <pc:docMk/>
            <pc:sldMk cId="884389446" sldId="2147377178"/>
            <ac:spMk id="1252" creationId="{442498DD-7DB1-5657-1EBE-E1190FD9B360}"/>
          </ac:spMkLst>
        </pc:spChg>
        <pc:spChg chg="mod">
          <ac:chgData name="Fatma Alsagaf" userId="ef587b5e-378a-4bb3-aa9f-3c15b98138a4" providerId="ADAL" clId="{970C8D05-B85F-4AAE-B261-D7FBE6C18B7C}" dt="2023-08-21T05:41:27.088" v="617" actId="164"/>
          <ac:spMkLst>
            <pc:docMk/>
            <pc:sldMk cId="884389446" sldId="2147377178"/>
            <ac:spMk id="1253" creationId="{1DCA665E-3E10-3BEE-8ACD-DE84BC92D381}"/>
          </ac:spMkLst>
        </pc:spChg>
        <pc:spChg chg="mod">
          <ac:chgData name="Fatma Alsagaf" userId="ef587b5e-378a-4bb3-aa9f-3c15b98138a4" providerId="ADAL" clId="{970C8D05-B85F-4AAE-B261-D7FBE6C18B7C}" dt="2023-08-21T05:41:27.088" v="617" actId="164"/>
          <ac:spMkLst>
            <pc:docMk/>
            <pc:sldMk cId="884389446" sldId="2147377178"/>
            <ac:spMk id="1254" creationId="{C6DAFC9D-8E1C-9D98-03EB-CBC5798D68B8}"/>
          </ac:spMkLst>
        </pc:spChg>
        <pc:grpChg chg="mod topLvl">
          <ac:chgData name="Fatma Alsagaf" userId="ef587b5e-378a-4bb3-aa9f-3c15b98138a4" providerId="ADAL" clId="{970C8D05-B85F-4AAE-B261-D7FBE6C18B7C}" dt="2023-08-21T05:34:03.504" v="519" actId="1076"/>
          <ac:grpSpMkLst>
            <pc:docMk/>
            <pc:sldMk cId="884389446" sldId="2147377178"/>
            <ac:grpSpMk id="17" creationId="{604DE793-A411-7A35-50AE-85AF1581F80F}"/>
          </ac:grpSpMkLst>
        </pc:grpChg>
        <pc:grpChg chg="del">
          <ac:chgData name="Fatma Alsagaf" userId="ef587b5e-378a-4bb3-aa9f-3c15b98138a4" providerId="ADAL" clId="{970C8D05-B85F-4AAE-B261-D7FBE6C18B7C}" dt="2023-08-21T05:33:07.486" v="517" actId="478"/>
          <ac:grpSpMkLst>
            <pc:docMk/>
            <pc:sldMk cId="884389446" sldId="2147377178"/>
            <ac:grpSpMk id="30" creationId="{16FCC1F7-E777-7BF0-2CD0-12FA727DDF52}"/>
          </ac:grpSpMkLst>
        </pc:grpChg>
        <pc:grpChg chg="mod">
          <ac:chgData name="Fatma Alsagaf" userId="ef587b5e-378a-4bb3-aa9f-3c15b98138a4" providerId="ADAL" clId="{970C8D05-B85F-4AAE-B261-D7FBE6C18B7C}" dt="2023-08-21T05:59:47.907" v="847" actId="1037"/>
          <ac:grpSpMkLst>
            <pc:docMk/>
            <pc:sldMk cId="884389446" sldId="2147377178"/>
            <ac:grpSpMk id="51" creationId="{CC17EA7E-B610-9A29-4122-CEBE6C0EA9D7}"/>
          </ac:grpSpMkLst>
        </pc:grpChg>
        <pc:grpChg chg="mod">
          <ac:chgData name="Fatma Alsagaf" userId="ef587b5e-378a-4bb3-aa9f-3c15b98138a4" providerId="ADAL" clId="{970C8D05-B85F-4AAE-B261-D7FBE6C18B7C}" dt="2023-08-21T05:59:47.907" v="847" actId="1037"/>
          <ac:grpSpMkLst>
            <pc:docMk/>
            <pc:sldMk cId="884389446" sldId="2147377178"/>
            <ac:grpSpMk id="52" creationId="{D92E6182-C0B2-ED4D-8786-818987E539F4}"/>
          </ac:grpSpMkLst>
        </pc:grpChg>
        <pc:grpChg chg="add mod">
          <ac:chgData name="Fatma Alsagaf" userId="ef587b5e-378a-4bb3-aa9f-3c15b98138a4" providerId="ADAL" clId="{970C8D05-B85F-4AAE-B261-D7FBE6C18B7C}" dt="2023-08-21T05:41:18.402" v="616" actId="164"/>
          <ac:grpSpMkLst>
            <pc:docMk/>
            <pc:sldMk cId="884389446" sldId="2147377178"/>
            <ac:grpSpMk id="106" creationId="{D8FB82ED-31B6-FB1B-EC84-89B7DEEDDE52}"/>
          </ac:grpSpMkLst>
        </pc:grpChg>
        <pc:grpChg chg="add mod">
          <ac:chgData name="Fatma Alsagaf" userId="ef587b5e-378a-4bb3-aa9f-3c15b98138a4" providerId="ADAL" clId="{970C8D05-B85F-4AAE-B261-D7FBE6C18B7C}" dt="2023-08-21T05:41:27.088" v="617" actId="164"/>
          <ac:grpSpMkLst>
            <pc:docMk/>
            <pc:sldMk cId="884389446" sldId="2147377178"/>
            <ac:grpSpMk id="107" creationId="{279FD5A3-5BA6-82C9-A64B-6969683EE7D2}"/>
          </ac:grpSpMkLst>
        </pc:grpChg>
        <pc:grpChg chg="mod">
          <ac:chgData name="Fatma Alsagaf" userId="ef587b5e-378a-4bb3-aa9f-3c15b98138a4" providerId="ADAL" clId="{970C8D05-B85F-4AAE-B261-D7FBE6C18B7C}" dt="2023-08-21T05:41:18.402" v="616" actId="164"/>
          <ac:grpSpMkLst>
            <pc:docMk/>
            <pc:sldMk cId="884389446" sldId="2147377178"/>
            <ac:grpSpMk id="1130" creationId="{C2B2F393-8FAF-A62E-5F6D-D28AD85E7912}"/>
          </ac:grpSpMkLst>
        </pc:grpChg>
        <pc:grpChg chg="mod">
          <ac:chgData name="Fatma Alsagaf" userId="ef587b5e-378a-4bb3-aa9f-3c15b98138a4" providerId="ADAL" clId="{970C8D05-B85F-4AAE-B261-D7FBE6C18B7C}" dt="2023-08-21T05:41:27.088" v="617" actId="164"/>
          <ac:grpSpMkLst>
            <pc:docMk/>
            <pc:sldMk cId="884389446" sldId="2147377178"/>
            <ac:grpSpMk id="1137" creationId="{FB7B2371-E14E-BC2B-F649-FBF90FC5BD60}"/>
          </ac:grpSpMkLst>
        </pc:grpChg>
        <pc:grpChg chg="mod">
          <ac:chgData name="Fatma Alsagaf" userId="ef587b5e-378a-4bb3-aa9f-3c15b98138a4" providerId="ADAL" clId="{970C8D05-B85F-4AAE-B261-D7FBE6C18B7C}" dt="2023-08-21T05:40:50.971" v="615" actId="1037"/>
          <ac:grpSpMkLst>
            <pc:docMk/>
            <pc:sldMk cId="884389446" sldId="2147377178"/>
            <ac:grpSpMk id="1255" creationId="{CB6D63CD-A2DA-3E15-67FF-E830EEC4DDF5}"/>
          </ac:grpSpMkLst>
        </pc:grpChg>
        <pc:grpChg chg="mod">
          <ac:chgData name="Fatma Alsagaf" userId="ef587b5e-378a-4bb3-aa9f-3c15b98138a4" providerId="ADAL" clId="{970C8D05-B85F-4AAE-B261-D7FBE6C18B7C}" dt="2023-08-21T05:40:50.971" v="615" actId="1037"/>
          <ac:grpSpMkLst>
            <pc:docMk/>
            <pc:sldMk cId="884389446" sldId="2147377178"/>
            <ac:grpSpMk id="1256" creationId="{21032849-60A1-23F1-E205-609C123CABB5}"/>
          </ac:grpSpMkLst>
        </pc:grpChg>
        <pc:graphicFrameChg chg="mod modGraphic">
          <ac:chgData name="Fatma Alsagaf" userId="ef587b5e-378a-4bb3-aa9f-3c15b98138a4" providerId="ADAL" clId="{970C8D05-B85F-4AAE-B261-D7FBE6C18B7C}" dt="2023-08-21T05:59:47.907" v="847" actId="1037"/>
          <ac:graphicFrameMkLst>
            <pc:docMk/>
            <pc:sldMk cId="884389446" sldId="2147377178"/>
            <ac:graphicFrameMk id="33" creationId="{BB1546A7-9F16-23AC-9BBB-0D4F9DE206F3}"/>
          </ac:graphicFrameMkLst>
        </pc:graphicFrameChg>
        <pc:picChg chg="mod">
          <ac:chgData name="Fatma Alsagaf" userId="ef587b5e-378a-4bb3-aa9f-3c15b98138a4" providerId="ADAL" clId="{970C8D05-B85F-4AAE-B261-D7FBE6C18B7C}" dt="2023-08-21T05:59:47.907" v="847" actId="1037"/>
          <ac:picMkLst>
            <pc:docMk/>
            <pc:sldMk cId="884389446" sldId="2147377178"/>
            <ac:picMk id="42" creationId="{F407341A-7CD0-5023-E261-5E3FC0938F57}"/>
          </ac:picMkLst>
        </pc:picChg>
        <pc:cxnChg chg="add del mod">
          <ac:chgData name="Fatma Alsagaf" userId="ef587b5e-378a-4bb3-aa9f-3c15b98138a4" providerId="ADAL" clId="{970C8D05-B85F-4AAE-B261-D7FBE6C18B7C}" dt="2023-08-21T05:24:30.892" v="415" actId="478"/>
          <ac:cxnSpMkLst>
            <pc:docMk/>
            <pc:sldMk cId="884389446" sldId="2147377178"/>
            <ac:cxnSpMk id="2" creationId="{A5984CD5-49C2-02BF-AAC1-4DB423B107C5}"/>
          </ac:cxnSpMkLst>
        </pc:cxnChg>
        <pc:cxnChg chg="mod">
          <ac:chgData name="Fatma Alsagaf" userId="ef587b5e-378a-4bb3-aa9f-3c15b98138a4" providerId="ADAL" clId="{970C8D05-B85F-4AAE-B261-D7FBE6C18B7C}" dt="2023-08-21T05:32:35.737" v="516" actId="1035"/>
          <ac:cxnSpMkLst>
            <pc:docMk/>
            <pc:sldMk cId="884389446" sldId="2147377178"/>
            <ac:cxnSpMk id="5" creationId="{94BE4A5C-907E-52DC-D955-224ED8717079}"/>
          </ac:cxnSpMkLst>
        </pc:cxnChg>
        <pc:cxnChg chg="mod">
          <ac:chgData name="Fatma Alsagaf" userId="ef587b5e-378a-4bb3-aa9f-3c15b98138a4" providerId="ADAL" clId="{970C8D05-B85F-4AAE-B261-D7FBE6C18B7C}" dt="2023-08-21T05:31:03.283" v="496" actId="14100"/>
          <ac:cxnSpMkLst>
            <pc:docMk/>
            <pc:sldMk cId="884389446" sldId="2147377178"/>
            <ac:cxnSpMk id="6" creationId="{1A5AF79E-BF56-FC50-C94D-5D173819AAFA}"/>
          </ac:cxnSpMkLst>
        </pc:cxnChg>
        <pc:cxnChg chg="mod">
          <ac:chgData name="Fatma Alsagaf" userId="ef587b5e-378a-4bb3-aa9f-3c15b98138a4" providerId="ADAL" clId="{970C8D05-B85F-4AAE-B261-D7FBE6C18B7C}" dt="2023-08-21T05:31:26.966" v="501" actId="14100"/>
          <ac:cxnSpMkLst>
            <pc:docMk/>
            <pc:sldMk cId="884389446" sldId="2147377178"/>
            <ac:cxnSpMk id="8" creationId="{6D756861-8339-95B9-1A0B-B4E51EFB230C}"/>
          </ac:cxnSpMkLst>
        </pc:cxnChg>
        <pc:cxnChg chg="mod">
          <ac:chgData name="Fatma Alsagaf" userId="ef587b5e-378a-4bb3-aa9f-3c15b98138a4" providerId="ADAL" clId="{970C8D05-B85F-4AAE-B261-D7FBE6C18B7C}" dt="2023-08-21T05:31:42.177" v="503" actId="14100"/>
          <ac:cxnSpMkLst>
            <pc:docMk/>
            <pc:sldMk cId="884389446" sldId="2147377178"/>
            <ac:cxnSpMk id="9" creationId="{F0E6C400-8912-0E4D-9570-2612D7FB84D7}"/>
          </ac:cxnSpMkLst>
        </pc:cxnChg>
        <pc:cxnChg chg="del">
          <ac:chgData name="Fatma Alsagaf" userId="ef587b5e-378a-4bb3-aa9f-3c15b98138a4" providerId="ADAL" clId="{970C8D05-B85F-4AAE-B261-D7FBE6C18B7C}" dt="2023-08-21T05:33:07.486" v="517" actId="478"/>
          <ac:cxnSpMkLst>
            <pc:docMk/>
            <pc:sldMk cId="884389446" sldId="2147377178"/>
            <ac:cxnSpMk id="22" creationId="{AA4C7A4B-0167-29CF-DF88-EBD37F4B7B3C}"/>
          </ac:cxnSpMkLst>
        </pc:cxnChg>
        <pc:cxnChg chg="del">
          <ac:chgData name="Fatma Alsagaf" userId="ef587b5e-378a-4bb3-aa9f-3c15b98138a4" providerId="ADAL" clId="{970C8D05-B85F-4AAE-B261-D7FBE6C18B7C}" dt="2023-08-21T05:33:07.486" v="517" actId="478"/>
          <ac:cxnSpMkLst>
            <pc:docMk/>
            <pc:sldMk cId="884389446" sldId="2147377178"/>
            <ac:cxnSpMk id="23" creationId="{ED8AAFE2-69EC-513E-4A77-18CBC3A045E0}"/>
          </ac:cxnSpMkLst>
        </pc:cxnChg>
        <pc:cxnChg chg="del">
          <ac:chgData name="Fatma Alsagaf" userId="ef587b5e-378a-4bb3-aa9f-3c15b98138a4" providerId="ADAL" clId="{970C8D05-B85F-4AAE-B261-D7FBE6C18B7C}" dt="2023-08-21T05:33:07.486" v="517" actId="478"/>
          <ac:cxnSpMkLst>
            <pc:docMk/>
            <pc:sldMk cId="884389446" sldId="2147377178"/>
            <ac:cxnSpMk id="24" creationId="{6ECCE9C8-F1BD-86C2-2DB6-401A0872E1B3}"/>
          </ac:cxnSpMkLst>
        </pc:cxnChg>
        <pc:cxnChg chg="del topLvl">
          <ac:chgData name="Fatma Alsagaf" userId="ef587b5e-378a-4bb3-aa9f-3c15b98138a4" providerId="ADAL" clId="{970C8D05-B85F-4AAE-B261-D7FBE6C18B7C}" dt="2023-08-21T05:33:07.486" v="517" actId="478"/>
          <ac:cxnSpMkLst>
            <pc:docMk/>
            <pc:sldMk cId="884389446" sldId="2147377178"/>
            <ac:cxnSpMk id="25" creationId="{8B207AC4-64B9-D5FB-7FC3-299B45313365}"/>
          </ac:cxnSpMkLst>
        </pc:cxnChg>
        <pc:cxnChg chg="mod">
          <ac:chgData name="Fatma Alsagaf" userId="ef587b5e-378a-4bb3-aa9f-3c15b98138a4" providerId="ADAL" clId="{970C8D05-B85F-4AAE-B261-D7FBE6C18B7C}" dt="2023-08-21T05:59:47.907" v="847" actId="1037"/>
          <ac:cxnSpMkLst>
            <pc:docMk/>
            <pc:sldMk cId="884389446" sldId="2147377178"/>
            <ac:cxnSpMk id="65" creationId="{920E30E8-D9D0-5386-F5B9-532954749833}"/>
          </ac:cxnSpMkLst>
        </pc:cxnChg>
        <pc:cxnChg chg="mod">
          <ac:chgData name="Fatma Alsagaf" userId="ef587b5e-378a-4bb3-aa9f-3c15b98138a4" providerId="ADAL" clId="{970C8D05-B85F-4AAE-B261-D7FBE6C18B7C}" dt="2023-08-21T05:28:10.242" v="439" actId="1076"/>
          <ac:cxnSpMkLst>
            <pc:docMk/>
            <pc:sldMk cId="884389446" sldId="2147377178"/>
            <ac:cxnSpMk id="73" creationId="{740794BA-4BAE-F479-4DE3-1256C64B5D37}"/>
          </ac:cxnSpMkLst>
        </pc:cxnChg>
        <pc:cxnChg chg="mod">
          <ac:chgData name="Fatma Alsagaf" userId="ef587b5e-378a-4bb3-aa9f-3c15b98138a4" providerId="ADAL" clId="{970C8D05-B85F-4AAE-B261-D7FBE6C18B7C}" dt="2023-08-21T05:27:58.675" v="438" actId="1076"/>
          <ac:cxnSpMkLst>
            <pc:docMk/>
            <pc:sldMk cId="884389446" sldId="2147377178"/>
            <ac:cxnSpMk id="86" creationId="{C2D93730-3861-A692-2FB4-0944F6C6D778}"/>
          </ac:cxnSpMkLst>
        </pc:cxnChg>
        <pc:cxnChg chg="add mod">
          <ac:chgData name="Fatma Alsagaf" userId="ef587b5e-378a-4bb3-aa9f-3c15b98138a4" providerId="ADAL" clId="{970C8D05-B85F-4AAE-B261-D7FBE6C18B7C}" dt="2023-08-21T05:35:57.403" v="527" actId="1036"/>
          <ac:cxnSpMkLst>
            <pc:docMk/>
            <pc:sldMk cId="884389446" sldId="2147377178"/>
            <ac:cxnSpMk id="98" creationId="{1DF2DF60-D771-4CDF-1386-CB9F2FCDC1CD}"/>
          </ac:cxnSpMkLst>
        </pc:cxnChg>
        <pc:cxnChg chg="add mod">
          <ac:chgData name="Fatma Alsagaf" userId="ef587b5e-378a-4bb3-aa9f-3c15b98138a4" providerId="ADAL" clId="{970C8D05-B85F-4AAE-B261-D7FBE6C18B7C}" dt="2023-08-21T05:35:57.403" v="527" actId="1036"/>
          <ac:cxnSpMkLst>
            <pc:docMk/>
            <pc:sldMk cId="884389446" sldId="2147377178"/>
            <ac:cxnSpMk id="99" creationId="{11557DCC-DCA4-97D3-F5B6-6B913D1BA0D1}"/>
          </ac:cxnSpMkLst>
        </pc:cxnChg>
        <pc:cxnChg chg="add mod">
          <ac:chgData name="Fatma Alsagaf" userId="ef587b5e-378a-4bb3-aa9f-3c15b98138a4" providerId="ADAL" clId="{970C8D05-B85F-4AAE-B261-D7FBE6C18B7C}" dt="2023-08-21T05:35:57.403" v="527" actId="1036"/>
          <ac:cxnSpMkLst>
            <pc:docMk/>
            <pc:sldMk cId="884389446" sldId="2147377178"/>
            <ac:cxnSpMk id="100" creationId="{DB74A3B1-0193-7D6B-C969-A2412B32882B}"/>
          </ac:cxnSpMkLst>
        </pc:cxnChg>
        <pc:cxnChg chg="add mod">
          <ac:chgData name="Fatma Alsagaf" userId="ef587b5e-378a-4bb3-aa9f-3c15b98138a4" providerId="ADAL" clId="{970C8D05-B85F-4AAE-B261-D7FBE6C18B7C}" dt="2023-08-21T05:35:57.403" v="527" actId="1036"/>
          <ac:cxnSpMkLst>
            <pc:docMk/>
            <pc:sldMk cId="884389446" sldId="2147377178"/>
            <ac:cxnSpMk id="101" creationId="{1175FD86-1B21-8D6D-D782-FF4AD6DA1E85}"/>
          </ac:cxnSpMkLst>
        </pc:cxnChg>
      </pc:sldChg>
      <pc:sldChg chg="modSp mod">
        <pc:chgData name="Fatma Alsagaf" userId="ef587b5e-378a-4bb3-aa9f-3c15b98138a4" providerId="ADAL" clId="{970C8D05-B85F-4AAE-B261-D7FBE6C18B7C}" dt="2023-08-21T05:47:04.961" v="820" actId="20577"/>
        <pc:sldMkLst>
          <pc:docMk/>
          <pc:sldMk cId="2398565188" sldId="2147377181"/>
        </pc:sldMkLst>
        <pc:spChg chg="mod">
          <ac:chgData name="Fatma Alsagaf" userId="ef587b5e-378a-4bb3-aa9f-3c15b98138a4" providerId="ADAL" clId="{970C8D05-B85F-4AAE-B261-D7FBE6C18B7C}" dt="2023-08-21T05:47:04.961" v="820" actId="20577"/>
          <ac:spMkLst>
            <pc:docMk/>
            <pc:sldMk cId="2398565188" sldId="2147377181"/>
            <ac:spMk id="7" creationId="{C2A6BE95-704F-5333-793E-A7A02C6FE465}"/>
          </ac:spMkLst>
        </pc:spChg>
        <pc:spChg chg="mod">
          <ac:chgData name="Fatma Alsagaf" userId="ef587b5e-378a-4bb3-aa9f-3c15b98138a4" providerId="ADAL" clId="{970C8D05-B85F-4AAE-B261-D7FBE6C18B7C}" dt="2023-08-21T04:24:47.010" v="262" actId="207"/>
          <ac:spMkLst>
            <pc:docMk/>
            <pc:sldMk cId="2398565188" sldId="2147377181"/>
            <ac:spMk id="21" creationId="{FC2EC1DD-7621-2803-EA82-B507A3456DF7}"/>
          </ac:spMkLst>
        </pc:spChg>
        <pc:spChg chg="mod">
          <ac:chgData name="Fatma Alsagaf" userId="ef587b5e-378a-4bb3-aa9f-3c15b98138a4" providerId="ADAL" clId="{970C8D05-B85F-4AAE-B261-D7FBE6C18B7C}" dt="2023-08-21T04:24:54.334" v="264" actId="207"/>
          <ac:spMkLst>
            <pc:docMk/>
            <pc:sldMk cId="2398565188" sldId="2147377181"/>
            <ac:spMk id="44" creationId="{16D1CB68-BE17-0493-502F-A8468618B270}"/>
          </ac:spMkLst>
        </pc:spChg>
        <pc:spChg chg="mod">
          <ac:chgData name="Fatma Alsagaf" userId="ef587b5e-378a-4bb3-aa9f-3c15b98138a4" providerId="ADAL" clId="{970C8D05-B85F-4AAE-B261-D7FBE6C18B7C}" dt="2023-08-21T04:24:49.716" v="263" actId="207"/>
          <ac:spMkLst>
            <pc:docMk/>
            <pc:sldMk cId="2398565188" sldId="2147377181"/>
            <ac:spMk id="66" creationId="{2C8A125F-183C-519D-3AA5-20BCC4BA5E6E}"/>
          </ac:spMkLst>
        </pc:spChg>
        <pc:spChg chg="mod">
          <ac:chgData name="Fatma Alsagaf" userId="ef587b5e-378a-4bb3-aa9f-3c15b98138a4" providerId="ADAL" clId="{970C8D05-B85F-4AAE-B261-D7FBE6C18B7C}" dt="2023-08-21T05:03:13.073" v="329" actId="207"/>
          <ac:spMkLst>
            <pc:docMk/>
            <pc:sldMk cId="2398565188" sldId="2147377181"/>
            <ac:spMk id="101" creationId="{6F91CD83-CBC3-EC2C-4354-91B6A092A194}"/>
          </ac:spMkLst>
        </pc:spChg>
        <pc:graphicFrameChg chg="modGraphic">
          <ac:chgData name="Fatma Alsagaf" userId="ef587b5e-378a-4bb3-aa9f-3c15b98138a4" providerId="ADAL" clId="{970C8D05-B85F-4AAE-B261-D7FBE6C18B7C}" dt="2023-08-21T04:24:17.207" v="261" actId="14100"/>
          <ac:graphicFrameMkLst>
            <pc:docMk/>
            <pc:sldMk cId="2398565188" sldId="2147377181"/>
            <ac:graphicFrameMk id="102" creationId="{8303A161-518D-1552-049A-2A95D2E3648A}"/>
          </ac:graphicFrameMkLst>
        </pc:graphicFrameChg>
      </pc:sldChg>
      <pc:sldChg chg="modSp mod">
        <pc:chgData name="Fatma Alsagaf" userId="ef587b5e-378a-4bb3-aa9f-3c15b98138a4" providerId="ADAL" clId="{970C8D05-B85F-4AAE-B261-D7FBE6C18B7C}" dt="2023-08-21T05:47:12.103" v="823" actId="20577"/>
        <pc:sldMkLst>
          <pc:docMk/>
          <pc:sldMk cId="1735074405" sldId="2147377182"/>
        </pc:sldMkLst>
        <pc:spChg chg="mod">
          <ac:chgData name="Fatma Alsagaf" userId="ef587b5e-378a-4bb3-aa9f-3c15b98138a4" providerId="ADAL" clId="{970C8D05-B85F-4AAE-B261-D7FBE6C18B7C}" dt="2023-08-21T05:03:54.296" v="330" actId="207"/>
          <ac:spMkLst>
            <pc:docMk/>
            <pc:sldMk cId="1735074405" sldId="2147377182"/>
            <ac:spMk id="5" creationId="{E3D99D91-10FD-20E8-C72B-24B4D3D19365}"/>
          </ac:spMkLst>
        </pc:spChg>
        <pc:spChg chg="mod">
          <ac:chgData name="Fatma Alsagaf" userId="ef587b5e-378a-4bb3-aa9f-3c15b98138a4" providerId="ADAL" clId="{970C8D05-B85F-4AAE-B261-D7FBE6C18B7C}" dt="2023-08-21T05:03:54.296" v="330" actId="207"/>
          <ac:spMkLst>
            <pc:docMk/>
            <pc:sldMk cId="1735074405" sldId="2147377182"/>
            <ac:spMk id="6" creationId="{5025208E-C2F8-4149-0293-6B5E337A6AB8}"/>
          </ac:spMkLst>
        </pc:spChg>
        <pc:spChg chg="mod">
          <ac:chgData name="Fatma Alsagaf" userId="ef587b5e-378a-4bb3-aa9f-3c15b98138a4" providerId="ADAL" clId="{970C8D05-B85F-4AAE-B261-D7FBE6C18B7C}" dt="2023-08-21T05:47:12.103" v="823" actId="20577"/>
          <ac:spMkLst>
            <pc:docMk/>
            <pc:sldMk cId="1735074405" sldId="2147377182"/>
            <ac:spMk id="7" creationId="{C2A6BE95-704F-5333-793E-A7A02C6FE465}"/>
          </ac:spMkLst>
        </pc:spChg>
        <pc:spChg chg="mod">
          <ac:chgData name="Fatma Alsagaf" userId="ef587b5e-378a-4bb3-aa9f-3c15b98138a4" providerId="ADAL" clId="{970C8D05-B85F-4AAE-B261-D7FBE6C18B7C}" dt="2023-08-21T05:03:54.296" v="330" actId="207"/>
          <ac:spMkLst>
            <pc:docMk/>
            <pc:sldMk cId="1735074405" sldId="2147377182"/>
            <ac:spMk id="13" creationId="{32221CF7-5AD6-FA05-6189-C1A5BA1D4E09}"/>
          </ac:spMkLst>
        </pc:spChg>
        <pc:spChg chg="mod">
          <ac:chgData name="Fatma Alsagaf" userId="ef587b5e-378a-4bb3-aa9f-3c15b98138a4" providerId="ADAL" clId="{970C8D05-B85F-4AAE-B261-D7FBE6C18B7C}" dt="2023-08-21T05:03:54.296" v="330" actId="207"/>
          <ac:spMkLst>
            <pc:docMk/>
            <pc:sldMk cId="1735074405" sldId="2147377182"/>
            <ac:spMk id="14" creationId="{1313714A-B61E-9888-6FA7-8BFC0B208F13}"/>
          </ac:spMkLst>
        </pc:spChg>
        <pc:spChg chg="mod">
          <ac:chgData name="Fatma Alsagaf" userId="ef587b5e-378a-4bb3-aa9f-3c15b98138a4" providerId="ADAL" clId="{970C8D05-B85F-4AAE-B261-D7FBE6C18B7C}" dt="2023-08-21T05:46:21.897" v="814" actId="207"/>
          <ac:spMkLst>
            <pc:docMk/>
            <pc:sldMk cId="1735074405" sldId="2147377182"/>
            <ac:spMk id="20" creationId="{ADC10136-6B48-8A2A-C4B2-F3252F1E0F45}"/>
          </ac:spMkLst>
        </pc:spChg>
        <pc:spChg chg="mod">
          <ac:chgData name="Fatma Alsagaf" userId="ef587b5e-378a-4bb3-aa9f-3c15b98138a4" providerId="ADAL" clId="{970C8D05-B85F-4AAE-B261-D7FBE6C18B7C}" dt="2023-08-21T04:22:52.833" v="251" actId="207"/>
          <ac:spMkLst>
            <pc:docMk/>
            <pc:sldMk cId="1735074405" sldId="2147377182"/>
            <ac:spMk id="21" creationId="{FC2EC1DD-7621-2803-EA82-B507A3456DF7}"/>
          </ac:spMkLst>
        </pc:spChg>
        <pc:spChg chg="mod">
          <ac:chgData name="Fatma Alsagaf" userId="ef587b5e-378a-4bb3-aa9f-3c15b98138a4" providerId="ADAL" clId="{970C8D05-B85F-4AAE-B261-D7FBE6C18B7C}" dt="2023-08-21T05:46:28.057" v="815" actId="207"/>
          <ac:spMkLst>
            <pc:docMk/>
            <pc:sldMk cId="1735074405" sldId="2147377182"/>
            <ac:spMk id="43" creationId="{1A3C44F1-75D8-0D14-0C54-F7775DD5507C}"/>
          </ac:spMkLst>
        </pc:spChg>
        <pc:spChg chg="mod">
          <ac:chgData name="Fatma Alsagaf" userId="ef587b5e-378a-4bb3-aa9f-3c15b98138a4" providerId="ADAL" clId="{970C8D05-B85F-4AAE-B261-D7FBE6C18B7C}" dt="2023-08-21T04:22:49.760" v="250" actId="207"/>
          <ac:spMkLst>
            <pc:docMk/>
            <pc:sldMk cId="1735074405" sldId="2147377182"/>
            <ac:spMk id="44" creationId="{16D1CB68-BE17-0493-502F-A8468618B270}"/>
          </ac:spMkLst>
        </pc:spChg>
        <pc:spChg chg="mod">
          <ac:chgData name="Fatma Alsagaf" userId="ef587b5e-378a-4bb3-aa9f-3c15b98138a4" providerId="ADAL" clId="{970C8D05-B85F-4AAE-B261-D7FBE6C18B7C}" dt="2023-08-21T04:22:55.005" v="252" actId="207"/>
          <ac:spMkLst>
            <pc:docMk/>
            <pc:sldMk cId="1735074405" sldId="2147377182"/>
            <ac:spMk id="66" creationId="{2C8A125F-183C-519D-3AA5-20BCC4BA5E6E}"/>
          </ac:spMkLst>
        </pc:spChg>
        <pc:spChg chg="mod">
          <ac:chgData name="Fatma Alsagaf" userId="ef587b5e-378a-4bb3-aa9f-3c15b98138a4" providerId="ADAL" clId="{970C8D05-B85F-4AAE-B261-D7FBE6C18B7C}" dt="2023-08-21T05:46:32.546" v="816" actId="207"/>
          <ac:spMkLst>
            <pc:docMk/>
            <pc:sldMk cId="1735074405" sldId="2147377182"/>
            <ac:spMk id="76" creationId="{207B8D3E-61CB-7BDA-FE63-389ECE3341F3}"/>
          </ac:spMkLst>
        </pc:spChg>
        <pc:grpChg chg="mod">
          <ac:chgData name="Fatma Alsagaf" userId="ef587b5e-378a-4bb3-aa9f-3c15b98138a4" providerId="ADAL" clId="{970C8D05-B85F-4AAE-B261-D7FBE6C18B7C}" dt="2023-08-21T05:03:54.296" v="330" actId="207"/>
          <ac:grpSpMkLst>
            <pc:docMk/>
            <pc:sldMk cId="1735074405" sldId="2147377182"/>
            <ac:grpSpMk id="3" creationId="{CA6EC395-8C59-8173-BF90-D0F64C22E0EA}"/>
          </ac:grpSpMkLst>
        </pc:grpChg>
        <pc:graphicFrameChg chg="modGraphic">
          <ac:chgData name="Fatma Alsagaf" userId="ef587b5e-378a-4bb3-aa9f-3c15b98138a4" providerId="ADAL" clId="{970C8D05-B85F-4AAE-B261-D7FBE6C18B7C}" dt="2023-08-21T04:23:44.552" v="255" actId="207"/>
          <ac:graphicFrameMkLst>
            <pc:docMk/>
            <pc:sldMk cId="1735074405" sldId="2147377182"/>
            <ac:graphicFrameMk id="2" creationId="{85AD278D-FDCE-CAA0-DB17-5815EABFB949}"/>
          </ac:graphicFrameMkLst>
        </pc:graphicFrameChg>
        <pc:picChg chg="mod">
          <ac:chgData name="Fatma Alsagaf" userId="ef587b5e-378a-4bb3-aa9f-3c15b98138a4" providerId="ADAL" clId="{970C8D05-B85F-4AAE-B261-D7FBE6C18B7C}" dt="2023-08-21T05:46:08.123" v="813" actId="207"/>
          <ac:picMkLst>
            <pc:docMk/>
            <pc:sldMk cId="1735074405" sldId="2147377182"/>
            <ac:picMk id="47" creationId="{F8D2CD67-7E35-8092-9F37-FC28F7046D3A}"/>
          </ac:picMkLst>
        </pc:picChg>
      </pc:sldChg>
    </pc:docChg>
  </pc:docChgLst>
  <pc:docChgLst>
    <pc:chgData name="Fatma Alsagaf" userId="ef587b5e-378a-4bb3-aa9f-3c15b98138a4" providerId="ADAL" clId="{2C4FED9B-9DBB-485E-847B-E69390B4E6E4}"/>
    <pc:docChg chg="undo redo custSel addSld delSld modSld sldOrd">
      <pc:chgData name="Fatma Alsagaf" userId="ef587b5e-378a-4bb3-aa9f-3c15b98138a4" providerId="ADAL" clId="{2C4FED9B-9DBB-485E-847B-E69390B4E6E4}" dt="2023-08-08T08:08:48.287" v="1238" actId="207"/>
      <pc:docMkLst>
        <pc:docMk/>
      </pc:docMkLst>
      <pc:sldChg chg="addSp modSp mod">
        <pc:chgData name="Fatma Alsagaf" userId="ef587b5e-378a-4bb3-aa9f-3c15b98138a4" providerId="ADAL" clId="{2C4FED9B-9DBB-485E-847B-E69390B4E6E4}" dt="2023-08-08T08:07:25.873" v="1235" actId="1037"/>
        <pc:sldMkLst>
          <pc:docMk/>
          <pc:sldMk cId="1684838535" sldId="2147377168"/>
        </pc:sldMkLst>
        <pc:spChg chg="mod">
          <ac:chgData name="Fatma Alsagaf" userId="ef587b5e-378a-4bb3-aa9f-3c15b98138a4" providerId="ADAL" clId="{2C4FED9B-9DBB-485E-847B-E69390B4E6E4}" dt="2023-08-08T07:50:42.981" v="1086" actId="20577"/>
          <ac:spMkLst>
            <pc:docMk/>
            <pc:sldMk cId="1684838535" sldId="2147377168"/>
            <ac:spMk id="2" creationId="{CA98AD67-5AA4-441A-BB82-472C288413F8}"/>
          </ac:spMkLst>
        </pc:spChg>
        <pc:spChg chg="add mod">
          <ac:chgData name="Fatma Alsagaf" userId="ef587b5e-378a-4bb3-aa9f-3c15b98138a4" providerId="ADAL" clId="{2C4FED9B-9DBB-485E-847B-E69390B4E6E4}" dt="2023-08-08T06:30:28.322" v="663" actId="1076"/>
          <ac:spMkLst>
            <pc:docMk/>
            <pc:sldMk cId="1684838535" sldId="2147377168"/>
            <ac:spMk id="3" creationId="{485626CD-E249-FB16-6E7A-3C0C25C86F16}"/>
          </ac:spMkLst>
        </pc:spChg>
        <pc:spChg chg="add mod">
          <ac:chgData name="Fatma Alsagaf" userId="ef587b5e-378a-4bb3-aa9f-3c15b98138a4" providerId="ADAL" clId="{2C4FED9B-9DBB-485E-847B-E69390B4E6E4}" dt="2023-08-08T06:31:01.446" v="676" actId="1076"/>
          <ac:spMkLst>
            <pc:docMk/>
            <pc:sldMk cId="1684838535" sldId="2147377168"/>
            <ac:spMk id="4" creationId="{EBE5D750-BD80-1B8D-FA3C-816DC0D206DB}"/>
          </ac:spMkLst>
        </pc:spChg>
        <pc:spChg chg="mod">
          <ac:chgData name="Fatma Alsagaf" userId="ef587b5e-378a-4bb3-aa9f-3c15b98138a4" providerId="ADAL" clId="{2C4FED9B-9DBB-485E-847B-E69390B4E6E4}" dt="2023-08-08T06:28:18.461" v="628" actId="693"/>
          <ac:spMkLst>
            <pc:docMk/>
            <pc:sldMk cId="1684838535" sldId="2147377168"/>
            <ac:spMk id="8" creationId="{AEB6459A-D894-73AC-2BAE-F4884D075066}"/>
          </ac:spMkLst>
        </pc:spChg>
        <pc:spChg chg="mod">
          <ac:chgData name="Fatma Alsagaf" userId="ef587b5e-378a-4bb3-aa9f-3c15b98138a4" providerId="ADAL" clId="{2C4FED9B-9DBB-485E-847B-E69390B4E6E4}" dt="2023-08-08T06:28:18.461" v="628" actId="693"/>
          <ac:spMkLst>
            <pc:docMk/>
            <pc:sldMk cId="1684838535" sldId="2147377168"/>
            <ac:spMk id="9" creationId="{39A36C49-922B-ED1D-7E68-884D17E54BCE}"/>
          </ac:spMkLst>
        </pc:spChg>
        <pc:spChg chg="mod">
          <ac:chgData name="Fatma Alsagaf" userId="ef587b5e-378a-4bb3-aa9f-3c15b98138a4" providerId="ADAL" clId="{2C4FED9B-9DBB-485E-847B-E69390B4E6E4}" dt="2023-08-08T06:28:18.461" v="628" actId="693"/>
          <ac:spMkLst>
            <pc:docMk/>
            <pc:sldMk cId="1684838535" sldId="2147377168"/>
            <ac:spMk id="10" creationId="{A6D9A14F-94BD-8B56-985C-E44624E43492}"/>
          </ac:spMkLst>
        </pc:spChg>
        <pc:spChg chg="mod">
          <ac:chgData name="Fatma Alsagaf" userId="ef587b5e-378a-4bb3-aa9f-3c15b98138a4" providerId="ADAL" clId="{2C4FED9B-9DBB-485E-847B-E69390B4E6E4}" dt="2023-08-08T06:28:18.461" v="628" actId="693"/>
          <ac:spMkLst>
            <pc:docMk/>
            <pc:sldMk cId="1684838535" sldId="2147377168"/>
            <ac:spMk id="49" creationId="{7D2A04BB-59CD-86E3-E845-C9B1CD0FADBC}"/>
          </ac:spMkLst>
        </pc:spChg>
        <pc:spChg chg="mod">
          <ac:chgData name="Fatma Alsagaf" userId="ef587b5e-378a-4bb3-aa9f-3c15b98138a4" providerId="ADAL" clId="{2C4FED9B-9DBB-485E-847B-E69390B4E6E4}" dt="2023-08-08T06:27:13.483" v="623" actId="207"/>
          <ac:spMkLst>
            <pc:docMk/>
            <pc:sldMk cId="1684838535" sldId="2147377168"/>
            <ac:spMk id="50" creationId="{EEDE42EF-3FC1-6BCF-BE3D-4A6EE7476B2B}"/>
          </ac:spMkLst>
        </pc:spChg>
        <pc:spChg chg="mod">
          <ac:chgData name="Fatma Alsagaf" userId="ef587b5e-378a-4bb3-aa9f-3c15b98138a4" providerId="ADAL" clId="{2C4FED9B-9DBB-485E-847B-E69390B4E6E4}" dt="2023-08-08T06:25:56.985" v="616" actId="207"/>
          <ac:spMkLst>
            <pc:docMk/>
            <pc:sldMk cId="1684838535" sldId="2147377168"/>
            <ac:spMk id="51" creationId="{328659AE-9906-8405-FCB2-88D67DCE2AE9}"/>
          </ac:spMkLst>
        </pc:spChg>
        <pc:spChg chg="mod">
          <ac:chgData name="Fatma Alsagaf" userId="ef587b5e-378a-4bb3-aa9f-3c15b98138a4" providerId="ADAL" clId="{2C4FED9B-9DBB-485E-847B-E69390B4E6E4}" dt="2023-08-08T06:25:56.985" v="616" actId="207"/>
          <ac:spMkLst>
            <pc:docMk/>
            <pc:sldMk cId="1684838535" sldId="2147377168"/>
            <ac:spMk id="52" creationId="{BC515623-8AC3-E254-5C8F-2F0E6A932B21}"/>
          </ac:spMkLst>
        </pc:spChg>
        <pc:spChg chg="mod">
          <ac:chgData name="Fatma Alsagaf" userId="ef587b5e-378a-4bb3-aa9f-3c15b98138a4" providerId="ADAL" clId="{2C4FED9B-9DBB-485E-847B-E69390B4E6E4}" dt="2023-08-08T06:25:56.985" v="616" actId="207"/>
          <ac:spMkLst>
            <pc:docMk/>
            <pc:sldMk cId="1684838535" sldId="2147377168"/>
            <ac:spMk id="53" creationId="{1EDD21DB-07DC-8B4C-9E47-D0D65B0A4F6B}"/>
          </ac:spMkLst>
        </pc:spChg>
        <pc:spChg chg="mod">
          <ac:chgData name="Fatma Alsagaf" userId="ef587b5e-378a-4bb3-aa9f-3c15b98138a4" providerId="ADAL" clId="{2C4FED9B-9DBB-485E-847B-E69390B4E6E4}" dt="2023-08-08T07:06:15.883" v="807" actId="1035"/>
          <ac:spMkLst>
            <pc:docMk/>
            <pc:sldMk cId="1684838535" sldId="2147377168"/>
            <ac:spMk id="1084" creationId="{958816BC-FB51-0FD3-9AEB-DC35D98BD659}"/>
          </ac:spMkLst>
        </pc:spChg>
        <pc:spChg chg="mod">
          <ac:chgData name="Fatma Alsagaf" userId="ef587b5e-378a-4bb3-aa9f-3c15b98138a4" providerId="ADAL" clId="{2C4FED9B-9DBB-485E-847B-E69390B4E6E4}" dt="2023-08-08T06:29:14.125" v="633" actId="207"/>
          <ac:spMkLst>
            <pc:docMk/>
            <pc:sldMk cId="1684838535" sldId="2147377168"/>
            <ac:spMk id="1086" creationId="{E070DC11-10E0-CE62-F7EC-CDA71E150720}"/>
          </ac:spMkLst>
        </pc:spChg>
        <pc:spChg chg="mod">
          <ac:chgData name="Fatma Alsagaf" userId="ef587b5e-378a-4bb3-aa9f-3c15b98138a4" providerId="ADAL" clId="{2C4FED9B-9DBB-485E-847B-E69390B4E6E4}" dt="2023-08-08T08:07:25.873" v="1235" actId="1037"/>
          <ac:spMkLst>
            <pc:docMk/>
            <pc:sldMk cId="1684838535" sldId="2147377168"/>
            <ac:spMk id="1087" creationId="{D62CA72B-6CB0-AA83-297B-433EC89B09C7}"/>
          </ac:spMkLst>
        </pc:spChg>
        <pc:graphicFrameChg chg="mod">
          <ac:chgData name="Fatma Alsagaf" userId="ef587b5e-378a-4bb3-aa9f-3c15b98138a4" providerId="ADAL" clId="{2C4FED9B-9DBB-485E-847B-E69390B4E6E4}" dt="2023-08-08T07:54:01.933" v="1099" actId="208"/>
          <ac:graphicFrameMkLst>
            <pc:docMk/>
            <pc:sldMk cId="1684838535" sldId="2147377168"/>
            <ac:graphicFrameMk id="1045" creationId="{06FEE8E5-02F4-C8F2-6E1B-9A78D31B3749}"/>
          </ac:graphicFrameMkLst>
        </pc:graphicFrameChg>
        <pc:graphicFrameChg chg="mod">
          <ac:chgData name="Fatma Alsagaf" userId="ef587b5e-378a-4bb3-aa9f-3c15b98138a4" providerId="ADAL" clId="{2C4FED9B-9DBB-485E-847B-E69390B4E6E4}" dt="2023-08-08T07:54:47.690" v="1102" actId="1582"/>
          <ac:graphicFrameMkLst>
            <pc:docMk/>
            <pc:sldMk cId="1684838535" sldId="2147377168"/>
            <ac:graphicFrameMk id="1046" creationId="{0B8726B4-6397-984F-B13F-861A6956900F}"/>
          </ac:graphicFrameMkLst>
        </pc:graphicFrameChg>
      </pc:sldChg>
      <pc:sldChg chg="del">
        <pc:chgData name="Fatma Alsagaf" userId="ef587b5e-378a-4bb3-aa9f-3c15b98138a4" providerId="ADAL" clId="{2C4FED9B-9DBB-485E-847B-E69390B4E6E4}" dt="2023-08-08T07:10:52.729" v="884" actId="47"/>
        <pc:sldMkLst>
          <pc:docMk/>
          <pc:sldMk cId="1454337508" sldId="2147377169"/>
        </pc:sldMkLst>
      </pc:sldChg>
      <pc:sldChg chg="addSp delSp modSp mod modTransition addAnim delAnim modAnim">
        <pc:chgData name="Fatma Alsagaf" userId="ef587b5e-378a-4bb3-aa9f-3c15b98138a4" providerId="ADAL" clId="{2C4FED9B-9DBB-485E-847B-E69390B4E6E4}" dt="2023-08-08T08:08:48.287" v="1238" actId="207"/>
        <pc:sldMkLst>
          <pc:docMk/>
          <pc:sldMk cId="3312873017" sldId="2147377170"/>
        </pc:sldMkLst>
        <pc:spChg chg="add del mod">
          <ac:chgData name="Fatma Alsagaf" userId="ef587b5e-378a-4bb3-aa9f-3c15b98138a4" providerId="ADAL" clId="{2C4FED9B-9DBB-485E-847B-E69390B4E6E4}" dt="2023-08-08T05:39:00.907" v="29"/>
          <ac:spMkLst>
            <pc:docMk/>
            <pc:sldMk cId="3312873017" sldId="2147377170"/>
            <ac:spMk id="2" creationId="{A3A1A819-14D4-830C-BE04-D0A2353A7705}"/>
          </ac:spMkLst>
        </pc:spChg>
        <pc:spChg chg="mod">
          <ac:chgData name="Fatma Alsagaf" userId="ef587b5e-378a-4bb3-aa9f-3c15b98138a4" providerId="ADAL" clId="{2C4FED9B-9DBB-485E-847B-E69390B4E6E4}" dt="2023-08-08T08:02:12.264" v="1196" actId="207"/>
          <ac:spMkLst>
            <pc:docMk/>
            <pc:sldMk cId="3312873017" sldId="2147377170"/>
            <ac:spMk id="3" creationId="{852407B0-0573-CDC9-50DD-E8096290CE8D}"/>
          </ac:spMkLst>
        </pc:spChg>
        <pc:spChg chg="add del mod">
          <ac:chgData name="Fatma Alsagaf" userId="ef587b5e-378a-4bb3-aa9f-3c15b98138a4" providerId="ADAL" clId="{2C4FED9B-9DBB-485E-847B-E69390B4E6E4}" dt="2023-08-08T05:39:00.907" v="29"/>
          <ac:spMkLst>
            <pc:docMk/>
            <pc:sldMk cId="3312873017" sldId="2147377170"/>
            <ac:spMk id="5" creationId="{54E4D6C3-D928-49C8-AE6D-EB49A27820D2}"/>
          </ac:spMkLst>
        </pc:spChg>
        <pc:spChg chg="add del mod">
          <ac:chgData name="Fatma Alsagaf" userId="ef587b5e-378a-4bb3-aa9f-3c15b98138a4" providerId="ADAL" clId="{2C4FED9B-9DBB-485E-847B-E69390B4E6E4}" dt="2023-08-08T05:39:00.907" v="29"/>
          <ac:spMkLst>
            <pc:docMk/>
            <pc:sldMk cId="3312873017" sldId="2147377170"/>
            <ac:spMk id="7" creationId="{3BB54EEF-73D1-C235-0F1D-595DEDA21618}"/>
          </ac:spMkLst>
        </pc:spChg>
        <pc:spChg chg="add mod">
          <ac:chgData name="Fatma Alsagaf" userId="ef587b5e-378a-4bb3-aa9f-3c15b98138a4" providerId="ADAL" clId="{2C4FED9B-9DBB-485E-847B-E69390B4E6E4}" dt="2023-08-08T07:03:33.603" v="762" actId="20577"/>
          <ac:spMkLst>
            <pc:docMk/>
            <pc:sldMk cId="3312873017" sldId="2147377170"/>
            <ac:spMk id="8" creationId="{0D1C93B0-2AF8-BE02-49A8-816B53846D87}"/>
          </ac:spMkLst>
        </pc:spChg>
        <pc:spChg chg="add del mod">
          <ac:chgData name="Fatma Alsagaf" userId="ef587b5e-378a-4bb3-aa9f-3c15b98138a4" providerId="ADAL" clId="{2C4FED9B-9DBB-485E-847B-E69390B4E6E4}" dt="2023-08-08T05:49:42.537" v="264" actId="478"/>
          <ac:spMkLst>
            <pc:docMk/>
            <pc:sldMk cId="3312873017" sldId="2147377170"/>
            <ac:spMk id="9" creationId="{BB172CB3-3C51-09F8-F8A4-0B3010CD3BC2}"/>
          </ac:spMkLst>
        </pc:spChg>
        <pc:spChg chg="add del mod">
          <ac:chgData name="Fatma Alsagaf" userId="ef587b5e-378a-4bb3-aa9f-3c15b98138a4" providerId="ADAL" clId="{2C4FED9B-9DBB-485E-847B-E69390B4E6E4}" dt="2023-08-08T05:49:42.537" v="264" actId="478"/>
          <ac:spMkLst>
            <pc:docMk/>
            <pc:sldMk cId="3312873017" sldId="2147377170"/>
            <ac:spMk id="10" creationId="{D167DDAC-3CF2-B7BC-F198-FCF98F37F614}"/>
          </ac:spMkLst>
        </pc:spChg>
        <pc:spChg chg="add del mod">
          <ac:chgData name="Fatma Alsagaf" userId="ef587b5e-378a-4bb3-aa9f-3c15b98138a4" providerId="ADAL" clId="{2C4FED9B-9DBB-485E-847B-E69390B4E6E4}" dt="2023-08-08T05:39:15.568" v="34"/>
          <ac:spMkLst>
            <pc:docMk/>
            <pc:sldMk cId="3312873017" sldId="2147377170"/>
            <ac:spMk id="11" creationId="{78620002-22A6-FA40-A31D-5FB31CA0025E}"/>
          </ac:spMkLst>
        </pc:spChg>
        <pc:spChg chg="add del mod">
          <ac:chgData name="Fatma Alsagaf" userId="ef587b5e-378a-4bb3-aa9f-3c15b98138a4" providerId="ADAL" clId="{2C4FED9B-9DBB-485E-847B-E69390B4E6E4}" dt="2023-08-08T05:39:15.568" v="34"/>
          <ac:spMkLst>
            <pc:docMk/>
            <pc:sldMk cId="3312873017" sldId="2147377170"/>
            <ac:spMk id="12" creationId="{CA81685E-6EC5-9395-C85D-6FE9A4B50BE1}"/>
          </ac:spMkLst>
        </pc:spChg>
        <pc:spChg chg="add del mod">
          <ac:chgData name="Fatma Alsagaf" userId="ef587b5e-378a-4bb3-aa9f-3c15b98138a4" providerId="ADAL" clId="{2C4FED9B-9DBB-485E-847B-E69390B4E6E4}" dt="2023-08-08T05:39:15.568" v="34"/>
          <ac:spMkLst>
            <pc:docMk/>
            <pc:sldMk cId="3312873017" sldId="2147377170"/>
            <ac:spMk id="13" creationId="{AD20A274-DC0D-11DD-7C03-03CFF82AA00C}"/>
          </ac:spMkLst>
        </pc:spChg>
        <pc:spChg chg="add del mod">
          <ac:chgData name="Fatma Alsagaf" userId="ef587b5e-378a-4bb3-aa9f-3c15b98138a4" providerId="ADAL" clId="{2C4FED9B-9DBB-485E-847B-E69390B4E6E4}" dt="2023-08-08T05:39:15.568" v="34"/>
          <ac:spMkLst>
            <pc:docMk/>
            <pc:sldMk cId="3312873017" sldId="2147377170"/>
            <ac:spMk id="14" creationId="{06D09B49-E802-E095-F4D1-09F275089931}"/>
          </ac:spMkLst>
        </pc:spChg>
        <pc:spChg chg="mod">
          <ac:chgData name="Fatma Alsagaf" userId="ef587b5e-378a-4bb3-aa9f-3c15b98138a4" providerId="ADAL" clId="{2C4FED9B-9DBB-485E-847B-E69390B4E6E4}" dt="2023-08-08T05:50:40.420" v="274" actId="1076"/>
          <ac:spMkLst>
            <pc:docMk/>
            <pc:sldMk cId="3312873017" sldId="2147377170"/>
            <ac:spMk id="15" creationId="{0C5F94C7-23F4-F3C1-BA00-E0998F3E4619}"/>
          </ac:spMkLst>
        </pc:spChg>
        <pc:spChg chg="mod">
          <ac:chgData name="Fatma Alsagaf" userId="ef587b5e-378a-4bb3-aa9f-3c15b98138a4" providerId="ADAL" clId="{2C4FED9B-9DBB-485E-847B-E69390B4E6E4}" dt="2023-08-08T05:55:44.163" v="340" actId="1076"/>
          <ac:spMkLst>
            <pc:docMk/>
            <pc:sldMk cId="3312873017" sldId="2147377170"/>
            <ac:spMk id="16" creationId="{52698CB2-C87E-6C07-2FF2-7F37C316CB93}"/>
          </ac:spMkLst>
        </pc:spChg>
        <pc:spChg chg="add del mod">
          <ac:chgData name="Fatma Alsagaf" userId="ef587b5e-378a-4bb3-aa9f-3c15b98138a4" providerId="ADAL" clId="{2C4FED9B-9DBB-485E-847B-E69390B4E6E4}" dt="2023-08-08T05:39:15.568" v="34"/>
          <ac:spMkLst>
            <pc:docMk/>
            <pc:sldMk cId="3312873017" sldId="2147377170"/>
            <ac:spMk id="17" creationId="{570F4F2B-D9EE-F107-AA03-6D116DBFE9EB}"/>
          </ac:spMkLst>
        </pc:spChg>
        <pc:spChg chg="add mod">
          <ac:chgData name="Fatma Alsagaf" userId="ef587b5e-378a-4bb3-aa9f-3c15b98138a4" providerId="ADAL" clId="{2C4FED9B-9DBB-485E-847B-E69390B4E6E4}" dt="2023-08-08T07:07:20.856" v="817" actId="404"/>
          <ac:spMkLst>
            <pc:docMk/>
            <pc:sldMk cId="3312873017" sldId="2147377170"/>
            <ac:spMk id="18" creationId="{45D2E725-7432-9A04-46BA-3712FD669179}"/>
          </ac:spMkLst>
        </pc:spChg>
        <pc:spChg chg="add mod">
          <ac:chgData name="Fatma Alsagaf" userId="ef587b5e-378a-4bb3-aa9f-3c15b98138a4" providerId="ADAL" clId="{2C4FED9B-9DBB-485E-847B-E69390B4E6E4}" dt="2023-08-08T07:07:20.856" v="817" actId="404"/>
          <ac:spMkLst>
            <pc:docMk/>
            <pc:sldMk cId="3312873017" sldId="2147377170"/>
            <ac:spMk id="19" creationId="{4B052AA0-66D6-E98B-5404-A01F9AFCF9C2}"/>
          </ac:spMkLst>
        </pc:spChg>
        <pc:spChg chg="del">
          <ac:chgData name="Fatma Alsagaf" userId="ef587b5e-378a-4bb3-aa9f-3c15b98138a4" providerId="ADAL" clId="{2C4FED9B-9DBB-485E-847B-E69390B4E6E4}" dt="2023-08-08T05:38:19.115" v="6" actId="478"/>
          <ac:spMkLst>
            <pc:docMk/>
            <pc:sldMk cId="3312873017" sldId="2147377170"/>
            <ac:spMk id="21" creationId="{1D0A3A88-D201-3D99-C9EF-9D40470C7E76}"/>
          </ac:spMkLst>
        </pc:spChg>
        <pc:spChg chg="del">
          <ac:chgData name="Fatma Alsagaf" userId="ef587b5e-378a-4bb3-aa9f-3c15b98138a4" providerId="ADAL" clId="{2C4FED9B-9DBB-485E-847B-E69390B4E6E4}" dt="2023-08-08T05:38:16.022" v="4" actId="478"/>
          <ac:spMkLst>
            <pc:docMk/>
            <pc:sldMk cId="3312873017" sldId="2147377170"/>
            <ac:spMk id="22" creationId="{936859BF-2FEC-D3FE-F7BD-0156EAEF5F00}"/>
          </ac:spMkLst>
        </pc:spChg>
        <pc:spChg chg="add mod">
          <ac:chgData name="Fatma Alsagaf" userId="ef587b5e-378a-4bb3-aa9f-3c15b98138a4" providerId="ADAL" clId="{2C4FED9B-9DBB-485E-847B-E69390B4E6E4}" dt="2023-08-08T07:07:20.856" v="817" actId="404"/>
          <ac:spMkLst>
            <pc:docMk/>
            <pc:sldMk cId="3312873017" sldId="2147377170"/>
            <ac:spMk id="23" creationId="{CBB5BBBD-657A-A043-3E11-C6CDF6782E7D}"/>
          </ac:spMkLst>
        </pc:spChg>
        <pc:spChg chg="add mod">
          <ac:chgData name="Fatma Alsagaf" userId="ef587b5e-378a-4bb3-aa9f-3c15b98138a4" providerId="ADAL" clId="{2C4FED9B-9DBB-485E-847B-E69390B4E6E4}" dt="2023-08-08T07:07:20.856" v="817" actId="404"/>
          <ac:spMkLst>
            <pc:docMk/>
            <pc:sldMk cId="3312873017" sldId="2147377170"/>
            <ac:spMk id="24" creationId="{F88002B4-6A40-869A-650D-65167A5AD0BF}"/>
          </ac:spMkLst>
        </pc:spChg>
        <pc:spChg chg="add mod">
          <ac:chgData name="Fatma Alsagaf" userId="ef587b5e-378a-4bb3-aa9f-3c15b98138a4" providerId="ADAL" clId="{2C4FED9B-9DBB-485E-847B-E69390B4E6E4}" dt="2023-08-08T07:07:20.856" v="817" actId="404"/>
          <ac:spMkLst>
            <pc:docMk/>
            <pc:sldMk cId="3312873017" sldId="2147377170"/>
            <ac:spMk id="25" creationId="{53C9D86F-B697-3445-4AFF-A6CABB68FFA1}"/>
          </ac:spMkLst>
        </pc:spChg>
        <pc:spChg chg="add mod">
          <ac:chgData name="Fatma Alsagaf" userId="ef587b5e-378a-4bb3-aa9f-3c15b98138a4" providerId="ADAL" clId="{2C4FED9B-9DBB-485E-847B-E69390B4E6E4}" dt="2023-08-08T05:46:21.389" v="220" actId="1076"/>
          <ac:spMkLst>
            <pc:docMk/>
            <pc:sldMk cId="3312873017" sldId="2147377170"/>
            <ac:spMk id="29" creationId="{03DD6F13-6FF9-CB6F-7B99-5E977A4B2392}"/>
          </ac:spMkLst>
        </pc:spChg>
        <pc:spChg chg="del">
          <ac:chgData name="Fatma Alsagaf" userId="ef587b5e-378a-4bb3-aa9f-3c15b98138a4" providerId="ADAL" clId="{2C4FED9B-9DBB-485E-847B-E69390B4E6E4}" dt="2023-08-08T05:38:20.430" v="7" actId="478"/>
          <ac:spMkLst>
            <pc:docMk/>
            <pc:sldMk cId="3312873017" sldId="2147377170"/>
            <ac:spMk id="30" creationId="{B1BA2F54-8646-9225-1AB0-DB8274F0BF9D}"/>
          </ac:spMkLst>
        </pc:spChg>
        <pc:spChg chg="del">
          <ac:chgData name="Fatma Alsagaf" userId="ef587b5e-378a-4bb3-aa9f-3c15b98138a4" providerId="ADAL" clId="{2C4FED9B-9DBB-485E-847B-E69390B4E6E4}" dt="2023-08-08T05:38:20.430" v="7" actId="478"/>
          <ac:spMkLst>
            <pc:docMk/>
            <pc:sldMk cId="3312873017" sldId="2147377170"/>
            <ac:spMk id="31" creationId="{7919537D-E790-5B3D-62A1-FBE4B07C6A27}"/>
          </ac:spMkLst>
        </pc:spChg>
        <pc:spChg chg="add mod">
          <ac:chgData name="Fatma Alsagaf" userId="ef587b5e-378a-4bb3-aa9f-3c15b98138a4" providerId="ADAL" clId="{2C4FED9B-9DBB-485E-847B-E69390B4E6E4}" dt="2023-08-08T07:03:26.952" v="759" actId="20577"/>
          <ac:spMkLst>
            <pc:docMk/>
            <pc:sldMk cId="3312873017" sldId="2147377170"/>
            <ac:spMk id="32" creationId="{97C6E6FF-513F-D886-7EA9-2414FACC00B0}"/>
          </ac:spMkLst>
        </pc:spChg>
        <pc:spChg chg="del">
          <ac:chgData name="Fatma Alsagaf" userId="ef587b5e-378a-4bb3-aa9f-3c15b98138a4" providerId="ADAL" clId="{2C4FED9B-9DBB-485E-847B-E69390B4E6E4}" dt="2023-08-08T05:38:20.430" v="7" actId="478"/>
          <ac:spMkLst>
            <pc:docMk/>
            <pc:sldMk cId="3312873017" sldId="2147377170"/>
            <ac:spMk id="34" creationId="{2AD5D705-5481-BAC3-EBE5-A200209A4B6E}"/>
          </ac:spMkLst>
        </pc:spChg>
        <pc:spChg chg="del">
          <ac:chgData name="Fatma Alsagaf" userId="ef587b5e-378a-4bb3-aa9f-3c15b98138a4" providerId="ADAL" clId="{2C4FED9B-9DBB-485E-847B-E69390B4E6E4}" dt="2023-08-08T05:38:19.115" v="6" actId="478"/>
          <ac:spMkLst>
            <pc:docMk/>
            <pc:sldMk cId="3312873017" sldId="2147377170"/>
            <ac:spMk id="35" creationId="{88578FA8-CC95-73A3-57AA-A79D685E96AD}"/>
          </ac:spMkLst>
        </pc:spChg>
        <pc:spChg chg="del">
          <ac:chgData name="Fatma Alsagaf" userId="ef587b5e-378a-4bb3-aa9f-3c15b98138a4" providerId="ADAL" clId="{2C4FED9B-9DBB-485E-847B-E69390B4E6E4}" dt="2023-08-08T05:38:17.582" v="5" actId="478"/>
          <ac:spMkLst>
            <pc:docMk/>
            <pc:sldMk cId="3312873017" sldId="2147377170"/>
            <ac:spMk id="36" creationId="{979DA5D3-8C9B-8E91-D02B-1632904BFCBE}"/>
          </ac:spMkLst>
        </pc:spChg>
        <pc:spChg chg="add mod">
          <ac:chgData name="Fatma Alsagaf" userId="ef587b5e-378a-4bb3-aa9f-3c15b98138a4" providerId="ADAL" clId="{2C4FED9B-9DBB-485E-847B-E69390B4E6E4}" dt="2023-08-08T05:49:55.725" v="265" actId="1076"/>
          <ac:spMkLst>
            <pc:docMk/>
            <pc:sldMk cId="3312873017" sldId="2147377170"/>
            <ac:spMk id="37" creationId="{1DDF700D-4632-020D-D54C-A1E562D376FF}"/>
          </ac:spMkLst>
        </pc:spChg>
        <pc:spChg chg="add mod">
          <ac:chgData name="Fatma Alsagaf" userId="ef587b5e-378a-4bb3-aa9f-3c15b98138a4" providerId="ADAL" clId="{2C4FED9B-9DBB-485E-847B-E69390B4E6E4}" dt="2023-08-08T07:03:10.137" v="753" actId="20577"/>
          <ac:spMkLst>
            <pc:docMk/>
            <pc:sldMk cId="3312873017" sldId="2147377170"/>
            <ac:spMk id="38" creationId="{416E7EFB-9196-9CA0-2959-215011FB64C6}"/>
          </ac:spMkLst>
        </pc:spChg>
        <pc:spChg chg="add mod">
          <ac:chgData name="Fatma Alsagaf" userId="ef587b5e-378a-4bb3-aa9f-3c15b98138a4" providerId="ADAL" clId="{2C4FED9B-9DBB-485E-847B-E69390B4E6E4}" dt="2023-08-08T05:55:21.196" v="333" actId="1076"/>
          <ac:spMkLst>
            <pc:docMk/>
            <pc:sldMk cId="3312873017" sldId="2147377170"/>
            <ac:spMk id="39" creationId="{E1F633C1-E4AC-B4B4-45B2-E664B0A3ED05}"/>
          </ac:spMkLst>
        </pc:spChg>
        <pc:spChg chg="add mod">
          <ac:chgData name="Fatma Alsagaf" userId="ef587b5e-378a-4bb3-aa9f-3c15b98138a4" providerId="ADAL" clId="{2C4FED9B-9DBB-485E-847B-E69390B4E6E4}" dt="2023-08-08T07:03:03.588" v="751" actId="20577"/>
          <ac:spMkLst>
            <pc:docMk/>
            <pc:sldMk cId="3312873017" sldId="2147377170"/>
            <ac:spMk id="40" creationId="{AFD58815-51B5-EFD6-06AE-5C85E269E9DA}"/>
          </ac:spMkLst>
        </pc:spChg>
        <pc:spChg chg="add mod">
          <ac:chgData name="Fatma Alsagaf" userId="ef587b5e-378a-4bb3-aa9f-3c15b98138a4" providerId="ADAL" clId="{2C4FED9B-9DBB-485E-847B-E69390B4E6E4}" dt="2023-08-08T05:47:05.286" v="233" actId="1076"/>
          <ac:spMkLst>
            <pc:docMk/>
            <pc:sldMk cId="3312873017" sldId="2147377170"/>
            <ac:spMk id="41" creationId="{53435164-391A-D99C-7C24-BEF53B44C321}"/>
          </ac:spMkLst>
        </pc:spChg>
        <pc:spChg chg="add mod">
          <ac:chgData name="Fatma Alsagaf" userId="ef587b5e-378a-4bb3-aa9f-3c15b98138a4" providerId="ADAL" clId="{2C4FED9B-9DBB-485E-847B-E69390B4E6E4}" dt="2023-08-08T07:03:20.994" v="755" actId="20577"/>
          <ac:spMkLst>
            <pc:docMk/>
            <pc:sldMk cId="3312873017" sldId="2147377170"/>
            <ac:spMk id="42" creationId="{0D1CE242-03F4-2567-FFCC-739F62EBF6BE}"/>
          </ac:spMkLst>
        </pc:spChg>
        <pc:spChg chg="add mod">
          <ac:chgData name="Fatma Alsagaf" userId="ef587b5e-378a-4bb3-aa9f-3c15b98138a4" providerId="ADAL" clId="{2C4FED9B-9DBB-485E-847B-E69390B4E6E4}" dt="2023-08-08T05:47:23.301" v="237" actId="1076"/>
          <ac:spMkLst>
            <pc:docMk/>
            <pc:sldMk cId="3312873017" sldId="2147377170"/>
            <ac:spMk id="43" creationId="{4122A791-BF73-AA5A-C35A-737FBFD25F87}"/>
          </ac:spMkLst>
        </pc:spChg>
        <pc:spChg chg="add mod">
          <ac:chgData name="Fatma Alsagaf" userId="ef587b5e-378a-4bb3-aa9f-3c15b98138a4" providerId="ADAL" clId="{2C4FED9B-9DBB-485E-847B-E69390B4E6E4}" dt="2023-08-08T07:02:46.683" v="746" actId="20577"/>
          <ac:spMkLst>
            <pc:docMk/>
            <pc:sldMk cId="3312873017" sldId="2147377170"/>
            <ac:spMk id="44" creationId="{A37D133B-B77B-88AE-6668-A00ACB4D6671}"/>
          </ac:spMkLst>
        </pc:spChg>
        <pc:spChg chg="add mod">
          <ac:chgData name="Fatma Alsagaf" userId="ef587b5e-378a-4bb3-aa9f-3c15b98138a4" providerId="ADAL" clId="{2C4FED9B-9DBB-485E-847B-E69390B4E6E4}" dt="2023-08-08T05:50:16.349" v="269" actId="1076"/>
          <ac:spMkLst>
            <pc:docMk/>
            <pc:sldMk cId="3312873017" sldId="2147377170"/>
            <ac:spMk id="45" creationId="{49AB8CEA-FB7A-BAC3-3CBB-B0D4F67CBBC7}"/>
          </ac:spMkLst>
        </pc:spChg>
        <pc:spChg chg="add mod">
          <ac:chgData name="Fatma Alsagaf" userId="ef587b5e-378a-4bb3-aa9f-3c15b98138a4" providerId="ADAL" clId="{2C4FED9B-9DBB-485E-847B-E69390B4E6E4}" dt="2023-08-08T08:08:28.466" v="1237" actId="207"/>
          <ac:spMkLst>
            <pc:docMk/>
            <pc:sldMk cId="3312873017" sldId="2147377170"/>
            <ac:spMk id="46" creationId="{D1DC2AED-8F00-FFF5-33F0-C19A4AF73CD9}"/>
          </ac:spMkLst>
        </pc:spChg>
        <pc:spChg chg="add mod">
          <ac:chgData name="Fatma Alsagaf" userId="ef587b5e-378a-4bb3-aa9f-3c15b98138a4" providerId="ADAL" clId="{2C4FED9B-9DBB-485E-847B-E69390B4E6E4}" dt="2023-08-08T05:47:58.463" v="244"/>
          <ac:spMkLst>
            <pc:docMk/>
            <pc:sldMk cId="3312873017" sldId="2147377170"/>
            <ac:spMk id="47" creationId="{803223DD-92A1-B272-5A97-DEF4A8480218}"/>
          </ac:spMkLst>
        </pc:spChg>
        <pc:spChg chg="add mod">
          <ac:chgData name="Fatma Alsagaf" userId="ef587b5e-378a-4bb3-aa9f-3c15b98138a4" providerId="ADAL" clId="{2C4FED9B-9DBB-485E-847B-E69390B4E6E4}" dt="2023-08-08T07:02:25.909" v="741" actId="20577"/>
          <ac:spMkLst>
            <pc:docMk/>
            <pc:sldMk cId="3312873017" sldId="2147377170"/>
            <ac:spMk id="48" creationId="{23E572EE-E376-E258-6F4A-B8FC3EA24FB0}"/>
          </ac:spMkLst>
        </pc:spChg>
        <pc:spChg chg="add mod">
          <ac:chgData name="Fatma Alsagaf" userId="ef587b5e-378a-4bb3-aa9f-3c15b98138a4" providerId="ADAL" clId="{2C4FED9B-9DBB-485E-847B-E69390B4E6E4}" dt="2023-08-08T05:48:12.178" v="247"/>
          <ac:spMkLst>
            <pc:docMk/>
            <pc:sldMk cId="3312873017" sldId="2147377170"/>
            <ac:spMk id="49" creationId="{9A631C3E-BB7E-E456-5879-D6C23EFB6CC1}"/>
          </ac:spMkLst>
        </pc:spChg>
        <pc:spChg chg="add mod">
          <ac:chgData name="Fatma Alsagaf" userId="ef587b5e-378a-4bb3-aa9f-3c15b98138a4" providerId="ADAL" clId="{2C4FED9B-9DBB-485E-847B-E69390B4E6E4}" dt="2023-08-08T07:02:18.924" v="739" actId="20577"/>
          <ac:spMkLst>
            <pc:docMk/>
            <pc:sldMk cId="3312873017" sldId="2147377170"/>
            <ac:spMk id="50" creationId="{A749528C-4E40-2B55-C8A8-0C609EF43022}"/>
          </ac:spMkLst>
        </pc:spChg>
        <pc:spChg chg="add mod">
          <ac:chgData name="Fatma Alsagaf" userId="ef587b5e-378a-4bb3-aa9f-3c15b98138a4" providerId="ADAL" clId="{2C4FED9B-9DBB-485E-847B-E69390B4E6E4}" dt="2023-08-08T05:48:26.717" v="251" actId="14100"/>
          <ac:spMkLst>
            <pc:docMk/>
            <pc:sldMk cId="3312873017" sldId="2147377170"/>
            <ac:spMk id="51" creationId="{EC6E569B-7055-A499-9D10-85D95801A9FB}"/>
          </ac:spMkLst>
        </pc:spChg>
        <pc:spChg chg="add mod">
          <ac:chgData name="Fatma Alsagaf" userId="ef587b5e-378a-4bb3-aa9f-3c15b98138a4" providerId="ADAL" clId="{2C4FED9B-9DBB-485E-847B-E69390B4E6E4}" dt="2023-08-08T07:02:11.625" v="736" actId="20577"/>
          <ac:spMkLst>
            <pc:docMk/>
            <pc:sldMk cId="3312873017" sldId="2147377170"/>
            <ac:spMk id="52" creationId="{46A60706-6B93-7E5C-2C61-C062A864D945}"/>
          </ac:spMkLst>
        </pc:spChg>
        <pc:spChg chg="add mod">
          <ac:chgData name="Fatma Alsagaf" userId="ef587b5e-378a-4bb3-aa9f-3c15b98138a4" providerId="ADAL" clId="{2C4FED9B-9DBB-485E-847B-E69390B4E6E4}" dt="2023-08-08T05:48:42.694" v="254"/>
          <ac:spMkLst>
            <pc:docMk/>
            <pc:sldMk cId="3312873017" sldId="2147377170"/>
            <ac:spMk id="53" creationId="{3C2E57D4-CB8C-DA35-A99E-1C72DE9CA0F3}"/>
          </ac:spMkLst>
        </pc:spChg>
        <pc:spChg chg="add mod">
          <ac:chgData name="Fatma Alsagaf" userId="ef587b5e-378a-4bb3-aa9f-3c15b98138a4" providerId="ADAL" clId="{2C4FED9B-9DBB-485E-847B-E69390B4E6E4}" dt="2023-08-08T07:02:07.129" v="734" actId="20577"/>
          <ac:spMkLst>
            <pc:docMk/>
            <pc:sldMk cId="3312873017" sldId="2147377170"/>
            <ac:spMk id="54" creationId="{6A68327B-4D44-C501-9235-9911A606C961}"/>
          </ac:spMkLst>
        </pc:spChg>
        <pc:spChg chg="add mod">
          <ac:chgData name="Fatma Alsagaf" userId="ef587b5e-378a-4bb3-aa9f-3c15b98138a4" providerId="ADAL" clId="{2C4FED9B-9DBB-485E-847B-E69390B4E6E4}" dt="2023-08-08T05:49:30.647" v="262" actId="1076"/>
          <ac:spMkLst>
            <pc:docMk/>
            <pc:sldMk cId="3312873017" sldId="2147377170"/>
            <ac:spMk id="55" creationId="{EBBE1CB3-126A-0D5A-40D4-63BA2BC165D7}"/>
          </ac:spMkLst>
        </pc:spChg>
        <pc:spChg chg="add mod">
          <ac:chgData name="Fatma Alsagaf" userId="ef587b5e-378a-4bb3-aa9f-3c15b98138a4" providerId="ADAL" clId="{2C4FED9B-9DBB-485E-847B-E69390B4E6E4}" dt="2023-08-08T06:57:08.683" v="705" actId="207"/>
          <ac:spMkLst>
            <pc:docMk/>
            <pc:sldMk cId="3312873017" sldId="2147377170"/>
            <ac:spMk id="56" creationId="{A397FC5B-694D-6532-1DF5-27FC229FDE34}"/>
          </ac:spMkLst>
        </pc:spChg>
        <pc:spChg chg="add mod">
          <ac:chgData name="Fatma Alsagaf" userId="ef587b5e-378a-4bb3-aa9f-3c15b98138a4" providerId="ADAL" clId="{2C4FED9B-9DBB-485E-847B-E69390B4E6E4}" dt="2023-08-08T05:51:09" v="278" actId="1076"/>
          <ac:spMkLst>
            <pc:docMk/>
            <pc:sldMk cId="3312873017" sldId="2147377170"/>
            <ac:spMk id="57" creationId="{E9F5FB72-A66B-6687-C9E4-EFFBF725342B}"/>
          </ac:spMkLst>
        </pc:spChg>
        <pc:spChg chg="add mod">
          <ac:chgData name="Fatma Alsagaf" userId="ef587b5e-378a-4bb3-aa9f-3c15b98138a4" providerId="ADAL" clId="{2C4FED9B-9DBB-485E-847B-E69390B4E6E4}" dt="2023-08-08T07:05:39.190" v="798" actId="207"/>
          <ac:spMkLst>
            <pc:docMk/>
            <pc:sldMk cId="3312873017" sldId="2147377170"/>
            <ac:spMk id="58" creationId="{B533C940-4E38-84C3-85C1-ED6D03113111}"/>
          </ac:spMkLst>
        </pc:spChg>
        <pc:spChg chg="add mod">
          <ac:chgData name="Fatma Alsagaf" userId="ef587b5e-378a-4bb3-aa9f-3c15b98138a4" providerId="ADAL" clId="{2C4FED9B-9DBB-485E-847B-E69390B4E6E4}" dt="2023-08-08T06:08:14.789" v="454" actId="1076"/>
          <ac:spMkLst>
            <pc:docMk/>
            <pc:sldMk cId="3312873017" sldId="2147377170"/>
            <ac:spMk id="59" creationId="{46FCA7D5-EF04-F42B-CCD1-5C08D86FF511}"/>
          </ac:spMkLst>
        </pc:spChg>
        <pc:spChg chg="add del mod">
          <ac:chgData name="Fatma Alsagaf" userId="ef587b5e-378a-4bb3-aa9f-3c15b98138a4" providerId="ADAL" clId="{2C4FED9B-9DBB-485E-847B-E69390B4E6E4}" dt="2023-08-08T07:05:24.590" v="793" actId="20577"/>
          <ac:spMkLst>
            <pc:docMk/>
            <pc:sldMk cId="3312873017" sldId="2147377170"/>
            <ac:spMk id="60" creationId="{90A37BE7-5E39-A9CE-E32D-EF866B1B4FA0}"/>
          </ac:spMkLst>
        </pc:spChg>
        <pc:spChg chg="add mod">
          <ac:chgData name="Fatma Alsagaf" userId="ef587b5e-378a-4bb3-aa9f-3c15b98138a4" providerId="ADAL" clId="{2C4FED9B-9DBB-485E-847B-E69390B4E6E4}" dt="2023-08-08T05:59:58.954" v="378" actId="1076"/>
          <ac:spMkLst>
            <pc:docMk/>
            <pc:sldMk cId="3312873017" sldId="2147377170"/>
            <ac:spMk id="61" creationId="{629585E0-8131-B7EB-012B-2F3C6B50247E}"/>
          </ac:spMkLst>
        </pc:spChg>
        <pc:spChg chg="add mod">
          <ac:chgData name="Fatma Alsagaf" userId="ef587b5e-378a-4bb3-aa9f-3c15b98138a4" providerId="ADAL" clId="{2C4FED9B-9DBB-485E-847B-E69390B4E6E4}" dt="2023-08-08T07:05:19.848" v="791" actId="20577"/>
          <ac:spMkLst>
            <pc:docMk/>
            <pc:sldMk cId="3312873017" sldId="2147377170"/>
            <ac:spMk id="62" creationId="{90F94BA0-9CF6-CD4A-5DBC-E68FC3A372B6}"/>
          </ac:spMkLst>
        </pc:spChg>
        <pc:spChg chg="add mod">
          <ac:chgData name="Fatma Alsagaf" userId="ef587b5e-378a-4bb3-aa9f-3c15b98138a4" providerId="ADAL" clId="{2C4FED9B-9DBB-485E-847B-E69390B4E6E4}" dt="2023-08-08T05:59:50.551" v="377" actId="1076"/>
          <ac:spMkLst>
            <pc:docMk/>
            <pc:sldMk cId="3312873017" sldId="2147377170"/>
            <ac:spMk id="63" creationId="{2D59C288-092B-C70F-E7D2-83131E8C64CE}"/>
          </ac:spMkLst>
        </pc:spChg>
        <pc:spChg chg="add mod">
          <ac:chgData name="Fatma Alsagaf" userId="ef587b5e-378a-4bb3-aa9f-3c15b98138a4" providerId="ADAL" clId="{2C4FED9B-9DBB-485E-847B-E69390B4E6E4}" dt="2023-08-08T07:05:14.825" v="787" actId="20577"/>
          <ac:spMkLst>
            <pc:docMk/>
            <pc:sldMk cId="3312873017" sldId="2147377170"/>
            <ac:spMk id="64" creationId="{5969E70B-5C52-C326-3CAE-5AC9DAF0AAFF}"/>
          </ac:spMkLst>
        </pc:spChg>
        <pc:spChg chg="add mod">
          <ac:chgData name="Fatma Alsagaf" userId="ef587b5e-378a-4bb3-aa9f-3c15b98138a4" providerId="ADAL" clId="{2C4FED9B-9DBB-485E-847B-E69390B4E6E4}" dt="2023-08-08T06:00:05.338" v="379" actId="1076"/>
          <ac:spMkLst>
            <pc:docMk/>
            <pc:sldMk cId="3312873017" sldId="2147377170"/>
            <ac:spMk id="65" creationId="{EC9CBBDE-7F02-049B-7FAD-DF4E5D559C97}"/>
          </ac:spMkLst>
        </pc:spChg>
        <pc:spChg chg="add mod">
          <ac:chgData name="Fatma Alsagaf" userId="ef587b5e-378a-4bb3-aa9f-3c15b98138a4" providerId="ADAL" clId="{2C4FED9B-9DBB-485E-847B-E69390B4E6E4}" dt="2023-08-08T07:05:09.218" v="784" actId="20577"/>
          <ac:spMkLst>
            <pc:docMk/>
            <pc:sldMk cId="3312873017" sldId="2147377170"/>
            <ac:spMk id="66" creationId="{13035588-3049-8F63-A224-48F1834931A4}"/>
          </ac:spMkLst>
        </pc:spChg>
        <pc:spChg chg="add mod">
          <ac:chgData name="Fatma Alsagaf" userId="ef587b5e-378a-4bb3-aa9f-3c15b98138a4" providerId="ADAL" clId="{2C4FED9B-9DBB-485E-847B-E69390B4E6E4}" dt="2023-08-08T06:00:09.602" v="380" actId="1076"/>
          <ac:spMkLst>
            <pc:docMk/>
            <pc:sldMk cId="3312873017" sldId="2147377170"/>
            <ac:spMk id="67" creationId="{59CFF995-0063-555D-700D-2701CD54A457}"/>
          </ac:spMkLst>
        </pc:spChg>
        <pc:spChg chg="add del mod">
          <ac:chgData name="Fatma Alsagaf" userId="ef587b5e-378a-4bb3-aa9f-3c15b98138a4" providerId="ADAL" clId="{2C4FED9B-9DBB-485E-847B-E69390B4E6E4}" dt="2023-08-08T05:58:19.109" v="359"/>
          <ac:spMkLst>
            <pc:docMk/>
            <pc:sldMk cId="3312873017" sldId="2147377170"/>
            <ac:spMk id="68" creationId="{B315F1B0-0865-23F7-6897-1B124CB05AEC}"/>
          </ac:spMkLst>
        </pc:spChg>
        <pc:spChg chg="add del mod">
          <ac:chgData name="Fatma Alsagaf" userId="ef587b5e-378a-4bb3-aa9f-3c15b98138a4" providerId="ADAL" clId="{2C4FED9B-9DBB-485E-847B-E69390B4E6E4}" dt="2023-08-08T05:58:19.109" v="359"/>
          <ac:spMkLst>
            <pc:docMk/>
            <pc:sldMk cId="3312873017" sldId="2147377170"/>
            <ac:spMk id="69" creationId="{F848AE23-004F-960F-79E8-E2F1E0BEAAC0}"/>
          </ac:spMkLst>
        </pc:spChg>
        <pc:spChg chg="add mod">
          <ac:chgData name="Fatma Alsagaf" userId="ef587b5e-378a-4bb3-aa9f-3c15b98138a4" providerId="ADAL" clId="{2C4FED9B-9DBB-485E-847B-E69390B4E6E4}" dt="2023-08-08T07:05:02.177" v="782" actId="20577"/>
          <ac:spMkLst>
            <pc:docMk/>
            <pc:sldMk cId="3312873017" sldId="2147377170"/>
            <ac:spMk id="70" creationId="{93608FF2-453F-E721-1FD6-C462C34559A7}"/>
          </ac:spMkLst>
        </pc:spChg>
        <pc:spChg chg="add mod">
          <ac:chgData name="Fatma Alsagaf" userId="ef587b5e-378a-4bb3-aa9f-3c15b98138a4" providerId="ADAL" clId="{2C4FED9B-9DBB-485E-847B-E69390B4E6E4}" dt="2023-08-08T06:03:42.163" v="415" actId="20577"/>
          <ac:spMkLst>
            <pc:docMk/>
            <pc:sldMk cId="3312873017" sldId="2147377170"/>
            <ac:spMk id="71" creationId="{4C4E704B-10CF-A30C-FA34-E3A20BEA715E}"/>
          </ac:spMkLst>
        </pc:spChg>
        <pc:spChg chg="add mod">
          <ac:chgData name="Fatma Alsagaf" userId="ef587b5e-378a-4bb3-aa9f-3c15b98138a4" providerId="ADAL" clId="{2C4FED9B-9DBB-485E-847B-E69390B4E6E4}" dt="2023-08-08T07:04:57.715" v="779" actId="20577"/>
          <ac:spMkLst>
            <pc:docMk/>
            <pc:sldMk cId="3312873017" sldId="2147377170"/>
            <ac:spMk id="72" creationId="{28B23C24-4DF7-17F1-0EC2-65474DD22D6B}"/>
          </ac:spMkLst>
        </pc:spChg>
        <pc:spChg chg="add mod">
          <ac:chgData name="Fatma Alsagaf" userId="ef587b5e-378a-4bb3-aa9f-3c15b98138a4" providerId="ADAL" clId="{2C4FED9B-9DBB-485E-847B-E69390B4E6E4}" dt="2023-08-08T06:00:27.737" v="382" actId="1076"/>
          <ac:spMkLst>
            <pc:docMk/>
            <pc:sldMk cId="3312873017" sldId="2147377170"/>
            <ac:spMk id="73" creationId="{E6028A0C-82AB-1CB0-1DAE-2CBBD281589E}"/>
          </ac:spMkLst>
        </pc:spChg>
        <pc:spChg chg="add mod">
          <ac:chgData name="Fatma Alsagaf" userId="ef587b5e-378a-4bb3-aa9f-3c15b98138a4" providerId="ADAL" clId="{2C4FED9B-9DBB-485E-847B-E69390B4E6E4}" dt="2023-08-08T07:04:53.692" v="777" actId="207"/>
          <ac:spMkLst>
            <pc:docMk/>
            <pc:sldMk cId="3312873017" sldId="2147377170"/>
            <ac:spMk id="74" creationId="{BA804DB7-AAFA-F9EA-7268-35EC3E4481D5}"/>
          </ac:spMkLst>
        </pc:spChg>
        <pc:spChg chg="add mod">
          <ac:chgData name="Fatma Alsagaf" userId="ef587b5e-378a-4bb3-aa9f-3c15b98138a4" providerId="ADAL" clId="{2C4FED9B-9DBB-485E-847B-E69390B4E6E4}" dt="2023-08-08T06:00:34.520" v="384" actId="1076"/>
          <ac:spMkLst>
            <pc:docMk/>
            <pc:sldMk cId="3312873017" sldId="2147377170"/>
            <ac:spMk id="75" creationId="{285969FA-6EF2-59D6-A362-C1434D7AB05D}"/>
          </ac:spMkLst>
        </pc:spChg>
        <pc:spChg chg="add mod">
          <ac:chgData name="Fatma Alsagaf" userId="ef587b5e-378a-4bb3-aa9f-3c15b98138a4" providerId="ADAL" clId="{2C4FED9B-9DBB-485E-847B-E69390B4E6E4}" dt="2023-08-08T08:08:48.287" v="1238" actId="207"/>
          <ac:spMkLst>
            <pc:docMk/>
            <pc:sldMk cId="3312873017" sldId="2147377170"/>
            <ac:spMk id="76" creationId="{9A59E5C4-3320-AF1A-6E41-FE0FAD3F55F5}"/>
          </ac:spMkLst>
        </pc:spChg>
        <pc:spChg chg="add mod">
          <ac:chgData name="Fatma Alsagaf" userId="ef587b5e-378a-4bb3-aa9f-3c15b98138a4" providerId="ADAL" clId="{2C4FED9B-9DBB-485E-847B-E69390B4E6E4}" dt="2023-08-08T06:00:54.889" v="389" actId="1076"/>
          <ac:spMkLst>
            <pc:docMk/>
            <pc:sldMk cId="3312873017" sldId="2147377170"/>
            <ac:spMk id="77" creationId="{E0BD3D54-587E-E59C-D1CD-4E26317F0426}"/>
          </ac:spMkLst>
        </pc:spChg>
        <pc:spChg chg="add mod">
          <ac:chgData name="Fatma Alsagaf" userId="ef587b5e-378a-4bb3-aa9f-3c15b98138a4" providerId="ADAL" clId="{2C4FED9B-9DBB-485E-847B-E69390B4E6E4}" dt="2023-08-08T06:57:04.656" v="704" actId="207"/>
          <ac:spMkLst>
            <pc:docMk/>
            <pc:sldMk cId="3312873017" sldId="2147377170"/>
            <ac:spMk id="78" creationId="{DEE972AB-5093-6355-E6C5-CF76B468926F}"/>
          </ac:spMkLst>
        </pc:spChg>
        <pc:spChg chg="add mod">
          <ac:chgData name="Fatma Alsagaf" userId="ef587b5e-378a-4bb3-aa9f-3c15b98138a4" providerId="ADAL" clId="{2C4FED9B-9DBB-485E-847B-E69390B4E6E4}" dt="2023-08-08T06:01:09.904" v="393" actId="1076"/>
          <ac:spMkLst>
            <pc:docMk/>
            <pc:sldMk cId="3312873017" sldId="2147377170"/>
            <ac:spMk id="79" creationId="{A59E1C83-D474-798D-20BF-E69C413AF5AA}"/>
          </ac:spMkLst>
        </pc:spChg>
        <pc:spChg chg="mod">
          <ac:chgData name="Fatma Alsagaf" userId="ef587b5e-378a-4bb3-aa9f-3c15b98138a4" providerId="ADAL" clId="{2C4FED9B-9DBB-485E-847B-E69390B4E6E4}" dt="2023-08-08T07:34:27.127" v="1052"/>
          <ac:spMkLst>
            <pc:docMk/>
            <pc:sldMk cId="3312873017" sldId="2147377170"/>
            <ac:spMk id="87" creationId="{B46D1C25-BE37-F3E1-8FC5-FAFDDC069D5E}"/>
          </ac:spMkLst>
        </pc:spChg>
        <pc:spChg chg="mod">
          <ac:chgData name="Fatma Alsagaf" userId="ef587b5e-378a-4bb3-aa9f-3c15b98138a4" providerId="ADAL" clId="{2C4FED9B-9DBB-485E-847B-E69390B4E6E4}" dt="2023-08-08T07:34:27.127" v="1052"/>
          <ac:spMkLst>
            <pc:docMk/>
            <pc:sldMk cId="3312873017" sldId="2147377170"/>
            <ac:spMk id="88" creationId="{3DA177B0-36EB-C927-9FEC-9BAC7CA7FB70}"/>
          </ac:spMkLst>
        </pc:spChg>
        <pc:spChg chg="mod">
          <ac:chgData name="Fatma Alsagaf" userId="ef587b5e-378a-4bb3-aa9f-3c15b98138a4" providerId="ADAL" clId="{2C4FED9B-9DBB-485E-847B-E69390B4E6E4}" dt="2023-08-08T07:34:27.127" v="1052"/>
          <ac:spMkLst>
            <pc:docMk/>
            <pc:sldMk cId="3312873017" sldId="2147377170"/>
            <ac:spMk id="89" creationId="{0631A72E-A561-E222-56A3-0F8D57045770}"/>
          </ac:spMkLst>
        </pc:spChg>
        <pc:spChg chg="mod">
          <ac:chgData name="Fatma Alsagaf" userId="ef587b5e-378a-4bb3-aa9f-3c15b98138a4" providerId="ADAL" clId="{2C4FED9B-9DBB-485E-847B-E69390B4E6E4}" dt="2023-08-08T07:34:27.127" v="1052"/>
          <ac:spMkLst>
            <pc:docMk/>
            <pc:sldMk cId="3312873017" sldId="2147377170"/>
            <ac:spMk id="90" creationId="{A392CD23-F7E5-9418-11BD-CA787F9E8912}"/>
          </ac:spMkLst>
        </pc:spChg>
        <pc:spChg chg="mod">
          <ac:chgData name="Fatma Alsagaf" userId="ef587b5e-378a-4bb3-aa9f-3c15b98138a4" providerId="ADAL" clId="{2C4FED9B-9DBB-485E-847B-E69390B4E6E4}" dt="2023-08-08T07:34:27.127" v="1052"/>
          <ac:spMkLst>
            <pc:docMk/>
            <pc:sldMk cId="3312873017" sldId="2147377170"/>
            <ac:spMk id="91" creationId="{6C6C288F-FE49-D6C4-0559-151B48C5A3B2}"/>
          </ac:spMkLst>
        </pc:spChg>
        <pc:spChg chg="add mod">
          <ac:chgData name="Fatma Alsagaf" userId="ef587b5e-378a-4bb3-aa9f-3c15b98138a4" providerId="ADAL" clId="{2C4FED9B-9DBB-485E-847B-E69390B4E6E4}" dt="2023-08-08T08:02:17.341" v="1197" actId="208"/>
          <ac:spMkLst>
            <pc:docMk/>
            <pc:sldMk cId="3312873017" sldId="2147377170"/>
            <ac:spMk id="94" creationId="{E4355540-1362-9A9A-E9A3-6E452F839319}"/>
          </ac:spMkLst>
        </pc:spChg>
        <pc:spChg chg="mod">
          <ac:chgData name="Fatma Alsagaf" userId="ef587b5e-378a-4bb3-aa9f-3c15b98138a4" providerId="ADAL" clId="{2C4FED9B-9DBB-485E-847B-E69390B4E6E4}" dt="2023-08-08T08:00:35.121" v="1180"/>
          <ac:spMkLst>
            <pc:docMk/>
            <pc:sldMk cId="3312873017" sldId="2147377170"/>
            <ac:spMk id="96" creationId="{D8F866A3-1D2C-EAB1-1D94-FF66D4D1B039}"/>
          </ac:spMkLst>
        </pc:spChg>
        <pc:spChg chg="mod">
          <ac:chgData name="Fatma Alsagaf" userId="ef587b5e-378a-4bb3-aa9f-3c15b98138a4" providerId="ADAL" clId="{2C4FED9B-9DBB-485E-847B-E69390B4E6E4}" dt="2023-08-08T08:02:49.070" v="1205" actId="403"/>
          <ac:spMkLst>
            <pc:docMk/>
            <pc:sldMk cId="3312873017" sldId="2147377170"/>
            <ac:spMk id="97" creationId="{4CB5154C-36A3-C3D3-45F8-58EF4DEB0318}"/>
          </ac:spMkLst>
        </pc:spChg>
        <pc:spChg chg="mod">
          <ac:chgData name="Fatma Alsagaf" userId="ef587b5e-378a-4bb3-aa9f-3c15b98138a4" providerId="ADAL" clId="{2C4FED9B-9DBB-485E-847B-E69390B4E6E4}" dt="2023-08-08T08:00:35.121" v="1180"/>
          <ac:spMkLst>
            <pc:docMk/>
            <pc:sldMk cId="3312873017" sldId="2147377170"/>
            <ac:spMk id="98" creationId="{66148F51-9A1A-4387-C992-BC3C0CEAD719}"/>
          </ac:spMkLst>
        </pc:spChg>
        <pc:spChg chg="mod">
          <ac:chgData name="Fatma Alsagaf" userId="ef587b5e-378a-4bb3-aa9f-3c15b98138a4" providerId="ADAL" clId="{2C4FED9B-9DBB-485E-847B-E69390B4E6E4}" dt="2023-08-08T08:00:35.121" v="1180"/>
          <ac:spMkLst>
            <pc:docMk/>
            <pc:sldMk cId="3312873017" sldId="2147377170"/>
            <ac:spMk id="99" creationId="{70A0D071-1F24-0742-5002-1947BB43BCD9}"/>
          </ac:spMkLst>
        </pc:spChg>
        <pc:spChg chg="mod">
          <ac:chgData name="Fatma Alsagaf" userId="ef587b5e-378a-4bb3-aa9f-3c15b98138a4" providerId="ADAL" clId="{2C4FED9B-9DBB-485E-847B-E69390B4E6E4}" dt="2023-08-08T08:00:35.121" v="1180"/>
          <ac:spMkLst>
            <pc:docMk/>
            <pc:sldMk cId="3312873017" sldId="2147377170"/>
            <ac:spMk id="100" creationId="{69F8B937-B510-D228-D6A1-C4A3E13A7EA5}"/>
          </ac:spMkLst>
        </pc:spChg>
        <pc:spChg chg="mod">
          <ac:chgData name="Fatma Alsagaf" userId="ef587b5e-378a-4bb3-aa9f-3c15b98138a4" providerId="ADAL" clId="{2C4FED9B-9DBB-485E-847B-E69390B4E6E4}" dt="2023-08-08T08:02:58.456" v="1212" actId="1037"/>
          <ac:spMkLst>
            <pc:docMk/>
            <pc:sldMk cId="3312873017" sldId="2147377170"/>
            <ac:spMk id="101" creationId="{0A458A73-D370-F5F7-CF66-0D1EC43751D8}"/>
          </ac:spMkLst>
        </pc:spChg>
        <pc:grpChg chg="add del mod">
          <ac:chgData name="Fatma Alsagaf" userId="ef587b5e-378a-4bb3-aa9f-3c15b98138a4" providerId="ADAL" clId="{2C4FED9B-9DBB-485E-847B-E69390B4E6E4}" dt="2023-08-08T07:34:26.322" v="1051" actId="478"/>
          <ac:grpSpMkLst>
            <pc:docMk/>
            <pc:sldMk cId="3312873017" sldId="2147377170"/>
            <ac:grpSpMk id="85" creationId="{B71A806F-D8C8-91C8-8ABD-96A93C7F94A3}"/>
          </ac:grpSpMkLst>
        </pc:grpChg>
        <pc:grpChg chg="add del mod">
          <ac:chgData name="Fatma Alsagaf" userId="ef587b5e-378a-4bb3-aa9f-3c15b98138a4" providerId="ADAL" clId="{2C4FED9B-9DBB-485E-847B-E69390B4E6E4}" dt="2023-08-08T08:00:34.491" v="1179" actId="478"/>
          <ac:grpSpMkLst>
            <pc:docMk/>
            <pc:sldMk cId="3312873017" sldId="2147377170"/>
            <ac:grpSpMk id="86" creationId="{FB3E7D8D-22E1-CC30-8795-FF5EE5942D5E}"/>
          </ac:grpSpMkLst>
        </pc:grpChg>
        <pc:grpChg chg="add mod">
          <ac:chgData name="Fatma Alsagaf" userId="ef587b5e-378a-4bb3-aa9f-3c15b98138a4" providerId="ADAL" clId="{2C4FED9B-9DBB-485E-847B-E69390B4E6E4}" dt="2023-08-08T08:03:03.455" v="1213" actId="14100"/>
          <ac:grpSpMkLst>
            <pc:docMk/>
            <pc:sldMk cId="3312873017" sldId="2147377170"/>
            <ac:grpSpMk id="95" creationId="{4780DFDD-FFB4-B342-88C0-7B9A629DA29F}"/>
          </ac:grpSpMkLst>
        </pc:grpChg>
        <pc:graphicFrameChg chg="del">
          <ac:chgData name="Fatma Alsagaf" userId="ef587b5e-378a-4bb3-aa9f-3c15b98138a4" providerId="ADAL" clId="{2C4FED9B-9DBB-485E-847B-E69390B4E6E4}" dt="2023-08-08T05:38:04.139" v="0" actId="478"/>
          <ac:graphicFrameMkLst>
            <pc:docMk/>
            <pc:sldMk cId="3312873017" sldId="2147377170"/>
            <ac:graphicFrameMk id="4" creationId="{CFE1E400-2A8A-B3A6-C318-9AF94504A39D}"/>
          </ac:graphicFrameMkLst>
        </pc:graphicFrameChg>
        <pc:graphicFrameChg chg="del">
          <ac:chgData name="Fatma Alsagaf" userId="ef587b5e-378a-4bb3-aa9f-3c15b98138a4" providerId="ADAL" clId="{2C4FED9B-9DBB-485E-847B-E69390B4E6E4}" dt="2023-08-08T05:38:05.429" v="1" actId="478"/>
          <ac:graphicFrameMkLst>
            <pc:docMk/>
            <pc:sldMk cId="3312873017" sldId="2147377170"/>
            <ac:graphicFrameMk id="6" creationId="{CBC0F89A-A4E5-7EF8-88AA-42D5C350124C}"/>
          </ac:graphicFrameMkLst>
        </pc:graphicFrameChg>
        <pc:graphicFrameChg chg="add del mod">
          <ac:chgData name="Fatma Alsagaf" userId="ef587b5e-378a-4bb3-aa9f-3c15b98138a4" providerId="ADAL" clId="{2C4FED9B-9DBB-485E-847B-E69390B4E6E4}" dt="2023-08-08T05:55:24.433" v="338" actId="478"/>
          <ac:graphicFrameMkLst>
            <pc:docMk/>
            <pc:sldMk cId="3312873017" sldId="2147377170"/>
            <ac:graphicFrameMk id="26" creationId="{491BC2F4-8ADC-CC4F-B103-3ECC9D37FDA6}"/>
          </ac:graphicFrameMkLst>
        </pc:graphicFrameChg>
        <pc:graphicFrameChg chg="del mod">
          <ac:chgData name="Fatma Alsagaf" userId="ef587b5e-378a-4bb3-aa9f-3c15b98138a4" providerId="ADAL" clId="{2C4FED9B-9DBB-485E-847B-E69390B4E6E4}" dt="2023-08-08T05:38:13.862" v="3" actId="478"/>
          <ac:graphicFrameMkLst>
            <pc:docMk/>
            <pc:sldMk cId="3312873017" sldId="2147377170"/>
            <ac:graphicFrameMk id="27" creationId="{3830C739-517C-CF9F-4488-9E6707D318D9}"/>
          </ac:graphicFrameMkLst>
        </pc:graphicFrameChg>
        <pc:graphicFrameChg chg="del">
          <ac:chgData name="Fatma Alsagaf" userId="ef587b5e-378a-4bb3-aa9f-3c15b98138a4" providerId="ADAL" clId="{2C4FED9B-9DBB-485E-847B-E69390B4E6E4}" dt="2023-08-08T05:38:24.130" v="8" actId="478"/>
          <ac:graphicFrameMkLst>
            <pc:docMk/>
            <pc:sldMk cId="3312873017" sldId="2147377170"/>
            <ac:graphicFrameMk id="33" creationId="{BD49BF40-0E9D-4ED3-970B-345FBB946398}"/>
          </ac:graphicFrameMkLst>
        </pc:graphicFrameChg>
        <pc:graphicFrameChg chg="add del mod">
          <ac:chgData name="Fatma Alsagaf" userId="ef587b5e-378a-4bb3-aa9f-3c15b98138a4" providerId="ADAL" clId="{2C4FED9B-9DBB-485E-847B-E69390B4E6E4}" dt="2023-08-08T06:04:39.212" v="443" actId="478"/>
          <ac:graphicFrameMkLst>
            <pc:docMk/>
            <pc:sldMk cId="3312873017" sldId="2147377170"/>
            <ac:graphicFrameMk id="80" creationId="{2EAAB31C-858D-63D9-F884-8E0F828DCB05}"/>
          </ac:graphicFrameMkLst>
        </pc:graphicFrameChg>
        <pc:graphicFrameChg chg="add mod">
          <ac:chgData name="Fatma Alsagaf" userId="ef587b5e-378a-4bb3-aa9f-3c15b98138a4" providerId="ADAL" clId="{2C4FED9B-9DBB-485E-847B-E69390B4E6E4}" dt="2023-08-08T07:01:59.017" v="730"/>
          <ac:graphicFrameMkLst>
            <pc:docMk/>
            <pc:sldMk cId="3312873017" sldId="2147377170"/>
            <ac:graphicFrameMk id="81" creationId="{CFE1E400-2A8A-B3A6-C318-9AF94504A39D}"/>
          </ac:graphicFrameMkLst>
        </pc:graphicFrameChg>
        <pc:graphicFrameChg chg="add del mod">
          <ac:chgData name="Fatma Alsagaf" userId="ef587b5e-378a-4bb3-aa9f-3c15b98138a4" providerId="ADAL" clId="{2C4FED9B-9DBB-485E-847B-E69390B4E6E4}" dt="2023-08-08T07:04:06.528" v="764" actId="478"/>
          <ac:graphicFrameMkLst>
            <pc:docMk/>
            <pc:sldMk cId="3312873017" sldId="2147377170"/>
            <ac:graphicFrameMk id="82" creationId="{CFE1E400-2A8A-B3A6-C318-9AF94504A39D}"/>
          </ac:graphicFrameMkLst>
        </pc:graphicFrameChg>
        <pc:graphicFrameChg chg="add mod">
          <ac:chgData name="Fatma Alsagaf" userId="ef587b5e-378a-4bb3-aa9f-3c15b98138a4" providerId="ADAL" clId="{2C4FED9B-9DBB-485E-847B-E69390B4E6E4}" dt="2023-08-08T07:04:34.495" v="769"/>
          <ac:graphicFrameMkLst>
            <pc:docMk/>
            <pc:sldMk cId="3312873017" sldId="2147377170"/>
            <ac:graphicFrameMk id="83" creationId="{CBC0F89A-A4E5-7EF8-88AA-42D5C350124C}"/>
          </ac:graphicFrameMkLst>
        </pc:graphicFrameChg>
        <pc:picChg chg="add del mod">
          <ac:chgData name="Fatma Alsagaf" userId="ef587b5e-378a-4bb3-aa9f-3c15b98138a4" providerId="ADAL" clId="{2C4FED9B-9DBB-485E-847B-E69390B4E6E4}" dt="2023-08-08T07:05:33.088" v="797" actId="478"/>
          <ac:picMkLst>
            <pc:docMk/>
            <pc:sldMk cId="3312873017" sldId="2147377170"/>
            <ac:picMk id="84" creationId="{A8843668-C596-2CBC-58D5-74236085580D}"/>
          </ac:picMkLst>
        </pc:picChg>
        <pc:picChg chg="add del mod">
          <ac:chgData name="Fatma Alsagaf" userId="ef587b5e-378a-4bb3-aa9f-3c15b98138a4" providerId="ADAL" clId="{2C4FED9B-9DBB-485E-847B-E69390B4E6E4}" dt="2023-08-08T07:32:43.486" v="1046" actId="478"/>
          <ac:picMkLst>
            <pc:docMk/>
            <pc:sldMk cId="3312873017" sldId="2147377170"/>
            <ac:picMk id="1026" creationId="{1FE0B297-EF9C-DC9C-926A-BB1EBCA306A2}"/>
          </ac:picMkLst>
        </pc:picChg>
        <pc:cxnChg chg="del">
          <ac:chgData name="Fatma Alsagaf" userId="ef587b5e-378a-4bb3-aa9f-3c15b98138a4" providerId="ADAL" clId="{2C4FED9B-9DBB-485E-847B-E69390B4E6E4}" dt="2023-08-08T05:38:19.115" v="6" actId="478"/>
          <ac:cxnSpMkLst>
            <pc:docMk/>
            <pc:sldMk cId="3312873017" sldId="2147377170"/>
            <ac:cxnSpMk id="20" creationId="{DF5722C2-9790-FD4F-460F-C8E0E9E847A5}"/>
          </ac:cxnSpMkLst>
        </pc:cxnChg>
        <pc:cxnChg chg="add mod">
          <ac:chgData name="Fatma Alsagaf" userId="ef587b5e-378a-4bb3-aa9f-3c15b98138a4" providerId="ADAL" clId="{2C4FED9B-9DBB-485E-847B-E69390B4E6E4}" dt="2023-08-08T08:03:29.441" v="1215" actId="14100"/>
          <ac:cxnSpMkLst>
            <pc:docMk/>
            <pc:sldMk cId="3312873017" sldId="2147377170"/>
            <ac:cxnSpMk id="93" creationId="{A852DD7C-FDD4-2892-80B8-A05B0D9DEC2F}"/>
          </ac:cxnSpMkLst>
        </pc:cxnChg>
      </pc:sldChg>
      <pc:sldChg chg="addSp delSp modSp del mod modAnim">
        <pc:chgData name="Fatma Alsagaf" userId="ef587b5e-378a-4bb3-aa9f-3c15b98138a4" providerId="ADAL" clId="{2C4FED9B-9DBB-485E-847B-E69390B4E6E4}" dt="2023-08-08T07:50:27.395" v="1078" actId="47"/>
        <pc:sldMkLst>
          <pc:docMk/>
          <pc:sldMk cId="3468993287" sldId="2147377171"/>
        </pc:sldMkLst>
        <pc:spChg chg="del mod">
          <ac:chgData name="Fatma Alsagaf" userId="ef587b5e-378a-4bb3-aa9f-3c15b98138a4" providerId="ADAL" clId="{2C4FED9B-9DBB-485E-847B-E69390B4E6E4}" dt="2023-08-08T07:11:29.654" v="907" actId="478"/>
          <ac:spMkLst>
            <pc:docMk/>
            <pc:sldMk cId="3468993287" sldId="2147377171"/>
            <ac:spMk id="2" creationId="{71EB0590-A5D8-4D4F-8B18-227409A71C6D}"/>
          </ac:spMkLst>
        </pc:spChg>
        <pc:spChg chg="del">
          <ac:chgData name="Fatma Alsagaf" userId="ef587b5e-378a-4bb3-aa9f-3c15b98138a4" providerId="ADAL" clId="{2C4FED9B-9DBB-485E-847B-E69390B4E6E4}" dt="2023-08-08T07:33:02.339" v="1049" actId="478"/>
          <ac:spMkLst>
            <pc:docMk/>
            <pc:sldMk cId="3468993287" sldId="2147377171"/>
            <ac:spMk id="3" creationId="{C36133E9-F7B0-24ED-3B8A-812D2665E254}"/>
          </ac:spMkLst>
        </pc:spChg>
        <pc:spChg chg="del">
          <ac:chgData name="Fatma Alsagaf" userId="ef587b5e-378a-4bb3-aa9f-3c15b98138a4" providerId="ADAL" clId="{2C4FED9B-9DBB-485E-847B-E69390B4E6E4}" dt="2023-08-08T07:33:04.820" v="1050" actId="478"/>
          <ac:spMkLst>
            <pc:docMk/>
            <pc:sldMk cId="3468993287" sldId="2147377171"/>
            <ac:spMk id="4" creationId="{A1142E4C-D8D4-A702-B470-B7815059DEAF}"/>
          </ac:spMkLst>
        </pc:spChg>
        <pc:spChg chg="add del mod">
          <ac:chgData name="Fatma Alsagaf" userId="ef587b5e-378a-4bb3-aa9f-3c15b98138a4" providerId="ADAL" clId="{2C4FED9B-9DBB-485E-847B-E69390B4E6E4}" dt="2023-08-08T07:11:07.761" v="886"/>
          <ac:spMkLst>
            <pc:docMk/>
            <pc:sldMk cId="3468993287" sldId="2147377171"/>
            <ac:spMk id="5" creationId="{CFC04466-0FC9-664E-7195-CAB6375D88D7}"/>
          </ac:spMkLst>
        </pc:spChg>
        <pc:spChg chg="add mod">
          <ac:chgData name="Fatma Alsagaf" userId="ef587b5e-378a-4bb3-aa9f-3c15b98138a4" providerId="ADAL" clId="{2C4FED9B-9DBB-485E-847B-E69390B4E6E4}" dt="2023-08-08T07:32:17.720" v="1045" actId="20577"/>
          <ac:spMkLst>
            <pc:docMk/>
            <pc:sldMk cId="3468993287" sldId="2147377171"/>
            <ac:spMk id="6" creationId="{E0A932D8-C3AE-E5E1-A8BC-0376CA4F624D}"/>
          </ac:spMkLst>
        </pc:spChg>
        <pc:spChg chg="add del mod">
          <ac:chgData name="Fatma Alsagaf" userId="ef587b5e-378a-4bb3-aa9f-3c15b98138a4" providerId="ADAL" clId="{2C4FED9B-9DBB-485E-847B-E69390B4E6E4}" dt="2023-08-08T07:11:32.035" v="908" actId="478"/>
          <ac:spMkLst>
            <pc:docMk/>
            <pc:sldMk cId="3468993287" sldId="2147377171"/>
            <ac:spMk id="7" creationId="{A4CBB2A1-2A87-D96B-022C-33728D72C9ED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8" creationId="{CF63CD0D-F784-D71C-903D-1B13E9531B85}"/>
          </ac:spMkLst>
        </pc:spChg>
        <pc:spChg chg="del">
          <ac:chgData name="Fatma Alsagaf" userId="ef587b5e-378a-4bb3-aa9f-3c15b98138a4" providerId="ADAL" clId="{2C4FED9B-9DBB-485E-847B-E69390B4E6E4}" dt="2023-08-08T07:18:05.528" v="915" actId="478"/>
          <ac:spMkLst>
            <pc:docMk/>
            <pc:sldMk cId="3468993287" sldId="2147377171"/>
            <ac:spMk id="9" creationId="{7B79D897-9729-523D-B29E-283AFC4DFD27}"/>
          </ac:spMkLst>
        </pc:spChg>
        <pc:spChg chg="del">
          <ac:chgData name="Fatma Alsagaf" userId="ef587b5e-378a-4bb3-aa9f-3c15b98138a4" providerId="ADAL" clId="{2C4FED9B-9DBB-485E-847B-E69390B4E6E4}" dt="2023-08-08T07:18:05.528" v="915" actId="478"/>
          <ac:spMkLst>
            <pc:docMk/>
            <pc:sldMk cId="3468993287" sldId="2147377171"/>
            <ac:spMk id="10" creationId="{575B3EE3-A1A1-3AE6-7703-269544FA9353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11" creationId="{612416D6-145C-ACB3-B7F2-D5EE52478811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12" creationId="{EB928313-1C01-32F5-C9FF-A0BBC62D0007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14" creationId="{7564CFBF-B0B3-1196-858F-52792143C4D9}"/>
          </ac:spMkLst>
        </pc:spChg>
        <pc:spChg chg="del">
          <ac:chgData name="Fatma Alsagaf" userId="ef587b5e-378a-4bb3-aa9f-3c15b98138a4" providerId="ADAL" clId="{2C4FED9B-9DBB-485E-847B-E69390B4E6E4}" dt="2023-08-08T07:33:04.820" v="1050" actId="478"/>
          <ac:spMkLst>
            <pc:docMk/>
            <pc:sldMk cId="3468993287" sldId="2147377171"/>
            <ac:spMk id="15" creationId="{0C5F94C7-23F4-F3C1-BA00-E0998F3E4619}"/>
          </ac:spMkLst>
        </pc:spChg>
        <pc:spChg chg="del">
          <ac:chgData name="Fatma Alsagaf" userId="ef587b5e-378a-4bb3-aa9f-3c15b98138a4" providerId="ADAL" clId="{2C4FED9B-9DBB-485E-847B-E69390B4E6E4}" dt="2023-08-08T07:33:02.339" v="1049" actId="478"/>
          <ac:spMkLst>
            <pc:docMk/>
            <pc:sldMk cId="3468993287" sldId="2147377171"/>
            <ac:spMk id="16" creationId="{52698CB2-C87E-6C07-2FF2-7F37C316CB93}"/>
          </ac:spMkLst>
        </pc:spChg>
        <pc:spChg chg="del">
          <ac:chgData name="Fatma Alsagaf" userId="ef587b5e-378a-4bb3-aa9f-3c15b98138a4" providerId="ADAL" clId="{2C4FED9B-9DBB-485E-847B-E69390B4E6E4}" dt="2023-08-08T07:18:05.528" v="915" actId="478"/>
          <ac:spMkLst>
            <pc:docMk/>
            <pc:sldMk cId="3468993287" sldId="2147377171"/>
            <ac:spMk id="17" creationId="{97A7CA0B-A7FD-8162-9605-5BE43CCD9F09}"/>
          </ac:spMkLst>
        </pc:spChg>
        <pc:spChg chg="del">
          <ac:chgData name="Fatma Alsagaf" userId="ef587b5e-378a-4bb3-aa9f-3c15b98138a4" providerId="ADAL" clId="{2C4FED9B-9DBB-485E-847B-E69390B4E6E4}" dt="2023-08-08T07:18:05.528" v="915" actId="478"/>
          <ac:spMkLst>
            <pc:docMk/>
            <pc:sldMk cId="3468993287" sldId="2147377171"/>
            <ac:spMk id="19" creationId="{532FDF2C-6D32-7158-4004-DC760FA76E9F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20" creationId="{85905F6A-3134-A3D7-5513-E4541A3DE6F7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21" creationId="{7A542D77-0CA2-FE68-4AE0-BDB9C96110CB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22" creationId="{4439E1B3-C9D4-61E0-7E63-978D8506DB32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23" creationId="{778D7805-5985-6DB0-3F43-6185AA7D32C8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24" creationId="{BF7C9735-D178-2D1A-20AB-9D3A261050DE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25" creationId="{534F8E3C-9BE7-F75E-0A6C-1BD63EF9B6CA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26" creationId="{E22B56E3-7249-AECC-E377-3123000298FA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27" creationId="{739E9678-7C5B-5C50-FF26-627095AAAE95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28" creationId="{3D35C6DD-D96F-CB67-216C-18B5F2D4EC65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29" creationId="{6D9B0D25-0E8C-2114-1DFD-9D62C422D177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30" creationId="{22092776-683A-C8F4-0B9A-34F0E07C2BF6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31" creationId="{587799FB-AF80-8D17-52CE-7516FD1660F7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32" creationId="{2DA5C734-C54D-E686-7CBE-DE6B813EA68B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33" creationId="{1B87F5F9-F22A-1CED-031C-498E33731C54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34" creationId="{01D9E152-CC64-B42A-E051-36C13E826C28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35" creationId="{9FEC596B-A808-2ECE-7676-B2205D05FEF9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36" creationId="{60623E92-79E4-1EA3-D978-7D02D9AE685D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37" creationId="{30E82FBF-D445-BFC5-BB0E-39698AC0C6B1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38" creationId="{BFCE3E88-DC9F-6C95-836F-E5B494466A54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39" creationId="{8113DA4D-F6F1-E25C-0CAB-81F846F541C7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40" creationId="{A581A088-BDFE-1D23-17F9-0317CD1016E7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41" creationId="{E7D816EB-B292-9D6B-CBB7-B38699C3B3F1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42" creationId="{C5A2573E-CB50-6A28-D710-2A479B0DBB5E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43" creationId="{71531B41-6306-0A25-24BE-182AB4C81CE0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44" creationId="{864F2606-5A16-BF31-4217-E05BEF8FD71F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45" creationId="{E7E872C8-5D54-09F7-B59F-389C47E86615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46" creationId="{807834CA-B39B-5E7C-3455-EFB476CD1EC2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47" creationId="{EDB0D08A-8C6C-0A75-B1F4-BD71939B158C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48" creationId="{59F25DA1-010A-5E92-EB93-6188A4BBAED3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49" creationId="{B9772A3B-39BE-A8EB-45ED-8BB91C369F1A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50" creationId="{38E6E1F2-78C3-622F-1C7B-3AD6AC3D4464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51" creationId="{C9F038A9-701B-431C-731A-5E5822BAED98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52" creationId="{6AF3A5BD-9871-A18B-7AB0-3F55A4DAF07C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53" creationId="{189C2EA1-FB38-E85A-E753-382AAB2B27B4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54" creationId="{7CEA727A-FACB-57B1-41BA-B467B1317CCF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55" creationId="{EE534885-A385-BD33-F933-D02B2CBC7071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56" creationId="{E93D50CC-9CCB-44D2-DB66-55C20CEA6D89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57" creationId="{1E8A69E5-1F13-CF20-B4EE-22EBC452904F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58" creationId="{F239F07A-7675-A06A-29B0-4E2D2DADBDD5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59" creationId="{16A8DD1A-84B6-BA91-AD7D-643CA0180FF7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60" creationId="{FB3B5999-2DF4-4430-350F-ADC848122A5F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61" creationId="{4A9FEBDB-3154-35DB-6AC4-AEDE6990FE84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62" creationId="{594B0B8C-91EB-CE53-950B-AF195985CFB8}"/>
          </ac:spMkLst>
        </pc:spChg>
        <pc:spChg chg="mod">
          <ac:chgData name="Fatma Alsagaf" userId="ef587b5e-378a-4bb3-aa9f-3c15b98138a4" providerId="ADAL" clId="{2C4FED9B-9DBB-485E-847B-E69390B4E6E4}" dt="2023-08-08T07:18:36.791" v="917"/>
          <ac:spMkLst>
            <pc:docMk/>
            <pc:sldMk cId="3468993287" sldId="2147377171"/>
            <ac:spMk id="2049" creationId="{27222BDE-D7E6-F5AA-65EC-9869666D29B4}"/>
          </ac:spMkLst>
        </pc:spChg>
        <pc:spChg chg="mod">
          <ac:chgData name="Fatma Alsagaf" userId="ef587b5e-378a-4bb3-aa9f-3c15b98138a4" providerId="ADAL" clId="{2C4FED9B-9DBB-485E-847B-E69390B4E6E4}" dt="2023-08-08T07:18:36.791" v="917"/>
          <ac:spMkLst>
            <pc:docMk/>
            <pc:sldMk cId="3468993287" sldId="2147377171"/>
            <ac:spMk id="2050" creationId="{41E780D1-82B4-AE96-2F6E-646A50194909}"/>
          </ac:spMkLst>
        </pc:spChg>
        <pc:spChg chg="mod">
          <ac:chgData name="Fatma Alsagaf" userId="ef587b5e-378a-4bb3-aa9f-3c15b98138a4" providerId="ADAL" clId="{2C4FED9B-9DBB-485E-847B-E69390B4E6E4}" dt="2023-08-08T07:18:36.791" v="917"/>
          <ac:spMkLst>
            <pc:docMk/>
            <pc:sldMk cId="3468993287" sldId="2147377171"/>
            <ac:spMk id="2051" creationId="{DC6A141B-0B44-729D-7B8D-E719F029BFA8}"/>
          </ac:spMkLst>
        </pc:spChg>
        <pc:spChg chg="mod">
          <ac:chgData name="Fatma Alsagaf" userId="ef587b5e-378a-4bb3-aa9f-3c15b98138a4" providerId="ADAL" clId="{2C4FED9B-9DBB-485E-847B-E69390B4E6E4}" dt="2023-08-08T07:18:36.791" v="917"/>
          <ac:spMkLst>
            <pc:docMk/>
            <pc:sldMk cId="3468993287" sldId="2147377171"/>
            <ac:spMk id="2052" creationId="{E3314D36-B7A2-E039-75D2-192E986E60A7}"/>
          </ac:spMkLst>
        </pc:spChg>
        <pc:spChg chg="mod">
          <ac:chgData name="Fatma Alsagaf" userId="ef587b5e-378a-4bb3-aa9f-3c15b98138a4" providerId="ADAL" clId="{2C4FED9B-9DBB-485E-847B-E69390B4E6E4}" dt="2023-08-08T07:18:36.791" v="917"/>
          <ac:spMkLst>
            <pc:docMk/>
            <pc:sldMk cId="3468993287" sldId="2147377171"/>
            <ac:spMk id="2053" creationId="{2B67D064-49AB-3E89-D5DE-DAFEED634BD6}"/>
          </ac:spMkLst>
        </pc:spChg>
        <pc:spChg chg="add del mod">
          <ac:chgData name="Fatma Alsagaf" userId="ef587b5e-378a-4bb3-aa9f-3c15b98138a4" providerId="ADAL" clId="{2C4FED9B-9DBB-485E-847B-E69390B4E6E4}" dt="2023-08-08T07:18:46.111" v="918"/>
          <ac:spMkLst>
            <pc:docMk/>
            <pc:sldMk cId="3468993287" sldId="2147377171"/>
            <ac:spMk id="2054" creationId="{EBF34BD0-4FCE-E858-6070-BE9B7170E576}"/>
          </ac:spMkLst>
        </pc:spChg>
        <pc:grpChg chg="add del mod">
          <ac:chgData name="Fatma Alsagaf" userId="ef587b5e-378a-4bb3-aa9f-3c15b98138a4" providerId="ADAL" clId="{2C4FED9B-9DBB-485E-847B-E69390B4E6E4}" dt="2023-08-08T07:18:46.111" v="918"/>
          <ac:grpSpMkLst>
            <pc:docMk/>
            <pc:sldMk cId="3468993287" sldId="2147377171"/>
            <ac:grpSpMk id="2048" creationId="{352F0951-1051-A6C7-9D61-4F48F482A71F}"/>
          </ac:grpSpMkLst>
        </pc:grpChg>
        <pc:graphicFrameChg chg="del">
          <ac:chgData name="Fatma Alsagaf" userId="ef587b5e-378a-4bb3-aa9f-3c15b98138a4" providerId="ADAL" clId="{2C4FED9B-9DBB-485E-847B-E69390B4E6E4}" dt="2023-08-08T07:18:08.523" v="916" actId="478"/>
          <ac:graphicFrameMkLst>
            <pc:docMk/>
            <pc:sldMk cId="3468993287" sldId="2147377171"/>
            <ac:graphicFrameMk id="13" creationId="{92A84D9D-71C4-BBBE-666A-145A4B420B4B}"/>
          </ac:graphicFrameMkLst>
        </pc:graphicFrameChg>
        <pc:graphicFrameChg chg="del">
          <ac:chgData name="Fatma Alsagaf" userId="ef587b5e-378a-4bb3-aa9f-3c15b98138a4" providerId="ADAL" clId="{2C4FED9B-9DBB-485E-847B-E69390B4E6E4}" dt="2023-08-08T07:18:01.326" v="914" actId="478"/>
          <ac:graphicFrameMkLst>
            <pc:docMk/>
            <pc:sldMk cId="3468993287" sldId="2147377171"/>
            <ac:graphicFrameMk id="18" creationId="{39F8F921-EF2D-C795-B136-9D43966577F0}"/>
          </ac:graphicFrameMkLst>
        </pc:graphicFrameChg>
        <pc:picChg chg="add del mod">
          <ac:chgData name="Fatma Alsagaf" userId="ef587b5e-378a-4bb3-aa9f-3c15b98138a4" providerId="ADAL" clId="{2C4FED9B-9DBB-485E-847B-E69390B4E6E4}" dt="2023-08-08T07:18:46.111" v="918"/>
          <ac:picMkLst>
            <pc:docMk/>
            <pc:sldMk cId="3468993287" sldId="2147377171"/>
            <ac:picMk id="63" creationId="{E2BB32A7-5ACD-4D8C-8567-6E8E7ED8A269}"/>
          </ac:picMkLst>
        </pc:picChg>
        <pc:picChg chg="del">
          <ac:chgData name="Fatma Alsagaf" userId="ef587b5e-378a-4bb3-aa9f-3c15b98138a4" providerId="ADAL" clId="{2C4FED9B-9DBB-485E-847B-E69390B4E6E4}" dt="2023-08-08T07:18:05.528" v="915" actId="478"/>
          <ac:picMkLst>
            <pc:docMk/>
            <pc:sldMk cId="3468993287" sldId="2147377171"/>
            <ac:picMk id="2056" creationId="{EAA2E35B-8361-D748-BA4F-D1B9AD517A63}"/>
          </ac:picMkLst>
        </pc:picChg>
      </pc:sldChg>
      <pc:sldChg chg="addSp delSp modSp add mod delAnim modAnim">
        <pc:chgData name="Fatma Alsagaf" userId="ef587b5e-378a-4bb3-aa9f-3c15b98138a4" providerId="ADAL" clId="{2C4FED9B-9DBB-485E-847B-E69390B4E6E4}" dt="2023-08-08T08:04:41.756" v="1222" actId="208"/>
        <pc:sldMkLst>
          <pc:docMk/>
          <pc:sldMk cId="692795662" sldId="2147377172"/>
        </pc:sldMkLst>
        <pc:spChg chg="mod">
          <ac:chgData name="Fatma Alsagaf" userId="ef587b5e-378a-4bb3-aa9f-3c15b98138a4" providerId="ADAL" clId="{2C4FED9B-9DBB-485E-847B-E69390B4E6E4}" dt="2023-08-08T08:04:36.703" v="1221" actId="207"/>
          <ac:spMkLst>
            <pc:docMk/>
            <pc:sldMk cId="692795662" sldId="2147377172"/>
            <ac:spMk id="3" creationId="{852407B0-0573-CDC9-50DD-E8096290CE8D}"/>
          </ac:spMkLst>
        </pc:spChg>
        <pc:spChg chg="mod topLvl">
          <ac:chgData name="Fatma Alsagaf" userId="ef587b5e-378a-4bb3-aa9f-3c15b98138a4" providerId="ADAL" clId="{2C4FED9B-9DBB-485E-847B-E69390B4E6E4}" dt="2023-08-08T08:00:24.929" v="1178" actId="164"/>
          <ac:spMkLst>
            <pc:docMk/>
            <pc:sldMk cId="692795662" sldId="2147377172"/>
            <ac:spMk id="5" creationId="{BBB2E730-DE34-1B10-E4FD-3E364DE82625}"/>
          </ac:spMkLst>
        </pc:spChg>
        <pc:spChg chg="mod topLvl">
          <ac:chgData name="Fatma Alsagaf" userId="ef587b5e-378a-4bb3-aa9f-3c15b98138a4" providerId="ADAL" clId="{2C4FED9B-9DBB-485E-847B-E69390B4E6E4}" dt="2023-08-08T08:00:24.929" v="1178" actId="164"/>
          <ac:spMkLst>
            <pc:docMk/>
            <pc:sldMk cId="692795662" sldId="2147377172"/>
            <ac:spMk id="6" creationId="{34A0DEFC-DCD9-1FDA-5D8D-03227E26B01F}"/>
          </ac:spMkLst>
        </pc:spChg>
        <pc:spChg chg="mod topLvl">
          <ac:chgData name="Fatma Alsagaf" userId="ef587b5e-378a-4bb3-aa9f-3c15b98138a4" providerId="ADAL" clId="{2C4FED9B-9DBB-485E-847B-E69390B4E6E4}" dt="2023-08-08T08:00:24.929" v="1178" actId="164"/>
          <ac:spMkLst>
            <pc:docMk/>
            <pc:sldMk cId="692795662" sldId="2147377172"/>
            <ac:spMk id="7" creationId="{45B4A695-3132-838A-ADFE-928A1B05C951}"/>
          </ac:spMkLst>
        </pc:spChg>
        <pc:spChg chg="mod topLvl">
          <ac:chgData name="Fatma Alsagaf" userId="ef587b5e-378a-4bb3-aa9f-3c15b98138a4" providerId="ADAL" clId="{2C4FED9B-9DBB-485E-847B-E69390B4E6E4}" dt="2023-08-08T08:00:24.929" v="1178" actId="164"/>
          <ac:spMkLst>
            <pc:docMk/>
            <pc:sldMk cId="692795662" sldId="2147377172"/>
            <ac:spMk id="9" creationId="{DD7ABE74-D528-D3FA-78DC-0A7EDDBDAD07}"/>
          </ac:spMkLst>
        </pc:spChg>
        <pc:spChg chg="mod topLvl">
          <ac:chgData name="Fatma Alsagaf" userId="ef587b5e-378a-4bb3-aa9f-3c15b98138a4" providerId="ADAL" clId="{2C4FED9B-9DBB-485E-847B-E69390B4E6E4}" dt="2023-08-08T08:00:24.929" v="1178" actId="164"/>
          <ac:spMkLst>
            <pc:docMk/>
            <pc:sldMk cId="692795662" sldId="2147377172"/>
            <ac:spMk id="10" creationId="{2CCB4280-7255-C1D9-0F78-2A64BF647631}"/>
          </ac:spMkLst>
        </pc:spChg>
        <pc:spChg chg="add mod">
          <ac:chgData name="Fatma Alsagaf" userId="ef587b5e-378a-4bb3-aa9f-3c15b98138a4" providerId="ADAL" clId="{2C4FED9B-9DBB-485E-847B-E69390B4E6E4}" dt="2023-08-08T08:00:24.929" v="1178" actId="164"/>
          <ac:spMkLst>
            <pc:docMk/>
            <pc:sldMk cId="692795662" sldId="2147377172"/>
            <ac:spMk id="11" creationId="{3BA0A87D-C265-BD40-D004-99C672CDE078}"/>
          </ac:spMkLst>
        </pc:spChg>
        <pc:spChg chg="add mod">
          <ac:chgData name="Fatma Alsagaf" userId="ef587b5e-378a-4bb3-aa9f-3c15b98138a4" providerId="ADAL" clId="{2C4FED9B-9DBB-485E-847B-E69390B4E6E4}" dt="2023-08-08T08:00:12.683" v="1177" actId="571"/>
          <ac:spMkLst>
            <pc:docMk/>
            <pc:sldMk cId="692795662" sldId="2147377172"/>
            <ac:spMk id="12" creationId="{0FBED488-35E4-51E7-8C93-6CE5E69A9435}"/>
          </ac:spMkLst>
        </pc:spChg>
        <pc:spChg chg="add mod">
          <ac:chgData name="Fatma Alsagaf" userId="ef587b5e-378a-4bb3-aa9f-3c15b98138a4" providerId="ADAL" clId="{2C4FED9B-9DBB-485E-847B-E69390B4E6E4}" dt="2023-08-08T08:00:12.683" v="1177" actId="571"/>
          <ac:spMkLst>
            <pc:docMk/>
            <pc:sldMk cId="692795662" sldId="2147377172"/>
            <ac:spMk id="13" creationId="{94E8C821-22BF-1712-49C4-8CF318AA6725}"/>
          </ac:spMkLst>
        </pc:spChg>
        <pc:spChg chg="del">
          <ac:chgData name="Fatma Alsagaf" userId="ef587b5e-378a-4bb3-aa9f-3c15b98138a4" providerId="ADAL" clId="{2C4FED9B-9DBB-485E-847B-E69390B4E6E4}" dt="2023-08-08T07:08:00.735" v="819" actId="478"/>
          <ac:spMkLst>
            <pc:docMk/>
            <pc:sldMk cId="692795662" sldId="2147377172"/>
            <ac:spMk id="18" creationId="{45D2E725-7432-9A04-46BA-3712FD669179}"/>
          </ac:spMkLst>
        </pc:spChg>
        <pc:spChg chg="del">
          <ac:chgData name="Fatma Alsagaf" userId="ef587b5e-378a-4bb3-aa9f-3c15b98138a4" providerId="ADAL" clId="{2C4FED9B-9DBB-485E-847B-E69390B4E6E4}" dt="2023-08-08T07:08:06.235" v="820" actId="478"/>
          <ac:spMkLst>
            <pc:docMk/>
            <pc:sldMk cId="692795662" sldId="2147377172"/>
            <ac:spMk id="19" creationId="{4B052AA0-66D6-E98B-5404-A01F9AFCF9C2}"/>
          </ac:spMkLst>
        </pc:spChg>
        <pc:spChg chg="add mod">
          <ac:chgData name="Fatma Alsagaf" userId="ef587b5e-378a-4bb3-aa9f-3c15b98138a4" providerId="ADAL" clId="{2C4FED9B-9DBB-485E-847B-E69390B4E6E4}" dt="2023-08-08T08:04:41.756" v="1222" actId="208"/>
          <ac:spMkLst>
            <pc:docMk/>
            <pc:sldMk cId="692795662" sldId="2147377172"/>
            <ac:spMk id="20" creationId="{20EFCA91-7D3A-560B-6C0F-BD2AC3A89A6B}"/>
          </ac:spMkLst>
        </pc:spChg>
        <pc:spChg chg="mod">
          <ac:chgData name="Fatma Alsagaf" userId="ef587b5e-378a-4bb3-aa9f-3c15b98138a4" providerId="ADAL" clId="{2C4FED9B-9DBB-485E-847B-E69390B4E6E4}" dt="2023-08-08T08:03:57.575" v="1216"/>
          <ac:spMkLst>
            <pc:docMk/>
            <pc:sldMk cId="692795662" sldId="2147377172"/>
            <ac:spMk id="22" creationId="{C43D272F-C415-12E2-8D41-33CB62DBCB6B}"/>
          </ac:spMkLst>
        </pc:spChg>
        <pc:spChg chg="del">
          <ac:chgData name="Fatma Alsagaf" userId="ef587b5e-378a-4bb3-aa9f-3c15b98138a4" providerId="ADAL" clId="{2C4FED9B-9DBB-485E-847B-E69390B4E6E4}" dt="2023-08-08T07:08:06.235" v="820" actId="478"/>
          <ac:spMkLst>
            <pc:docMk/>
            <pc:sldMk cId="692795662" sldId="2147377172"/>
            <ac:spMk id="23" creationId="{CBB5BBBD-657A-A043-3E11-C6CDF6782E7D}"/>
          </ac:spMkLst>
        </pc:spChg>
        <pc:spChg chg="del">
          <ac:chgData name="Fatma Alsagaf" userId="ef587b5e-378a-4bb3-aa9f-3c15b98138a4" providerId="ADAL" clId="{2C4FED9B-9DBB-485E-847B-E69390B4E6E4}" dt="2023-08-08T07:08:06.235" v="820" actId="478"/>
          <ac:spMkLst>
            <pc:docMk/>
            <pc:sldMk cId="692795662" sldId="2147377172"/>
            <ac:spMk id="24" creationId="{F88002B4-6A40-869A-650D-65167A5AD0BF}"/>
          </ac:spMkLst>
        </pc:spChg>
        <pc:spChg chg="del">
          <ac:chgData name="Fatma Alsagaf" userId="ef587b5e-378a-4bb3-aa9f-3c15b98138a4" providerId="ADAL" clId="{2C4FED9B-9DBB-485E-847B-E69390B4E6E4}" dt="2023-08-08T07:08:06.235" v="820" actId="478"/>
          <ac:spMkLst>
            <pc:docMk/>
            <pc:sldMk cId="692795662" sldId="2147377172"/>
            <ac:spMk id="25" creationId="{53C9D86F-B697-3445-4AFF-A6CABB68FFA1}"/>
          </ac:spMkLst>
        </pc:spChg>
        <pc:spChg chg="mod">
          <ac:chgData name="Fatma Alsagaf" userId="ef587b5e-378a-4bb3-aa9f-3c15b98138a4" providerId="ADAL" clId="{2C4FED9B-9DBB-485E-847B-E69390B4E6E4}" dt="2023-08-08T08:03:57.575" v="1216"/>
          <ac:spMkLst>
            <pc:docMk/>
            <pc:sldMk cId="692795662" sldId="2147377172"/>
            <ac:spMk id="26" creationId="{26D8D25B-D250-7140-473E-A662A30A5118}"/>
          </ac:spMkLst>
        </pc:spChg>
        <pc:spChg chg="mod">
          <ac:chgData name="Fatma Alsagaf" userId="ef587b5e-378a-4bb3-aa9f-3c15b98138a4" providerId="ADAL" clId="{2C4FED9B-9DBB-485E-847B-E69390B4E6E4}" dt="2023-08-08T08:03:57.575" v="1216"/>
          <ac:spMkLst>
            <pc:docMk/>
            <pc:sldMk cId="692795662" sldId="2147377172"/>
            <ac:spMk id="27" creationId="{67E0C740-6256-2E60-8617-04552B29A3EC}"/>
          </ac:spMkLst>
        </pc:spChg>
        <pc:spChg chg="mod">
          <ac:chgData name="Fatma Alsagaf" userId="ef587b5e-378a-4bb3-aa9f-3c15b98138a4" providerId="ADAL" clId="{2C4FED9B-9DBB-485E-847B-E69390B4E6E4}" dt="2023-08-08T08:03:57.575" v="1216"/>
          <ac:spMkLst>
            <pc:docMk/>
            <pc:sldMk cId="692795662" sldId="2147377172"/>
            <ac:spMk id="28" creationId="{3FD60318-37DA-39D1-2810-9920B448828A}"/>
          </ac:spMkLst>
        </pc:spChg>
        <pc:spChg chg="mod">
          <ac:chgData name="Fatma Alsagaf" userId="ef587b5e-378a-4bb3-aa9f-3c15b98138a4" providerId="ADAL" clId="{2C4FED9B-9DBB-485E-847B-E69390B4E6E4}" dt="2023-08-08T08:03:57.575" v="1216"/>
          <ac:spMkLst>
            <pc:docMk/>
            <pc:sldMk cId="692795662" sldId="2147377172"/>
            <ac:spMk id="30" creationId="{79582A3A-D991-BE37-A84D-904866E3795D}"/>
          </ac:spMkLst>
        </pc:spChg>
        <pc:spChg chg="mod">
          <ac:chgData name="Fatma Alsagaf" userId="ef587b5e-378a-4bb3-aa9f-3c15b98138a4" providerId="ADAL" clId="{2C4FED9B-9DBB-485E-847B-E69390B4E6E4}" dt="2023-08-08T08:03:57.575" v="1216"/>
          <ac:spMkLst>
            <pc:docMk/>
            <pc:sldMk cId="692795662" sldId="2147377172"/>
            <ac:spMk id="31" creationId="{D8CD7CA8-A0CA-7128-B730-E748DA5318EF}"/>
          </ac:spMkLst>
        </pc:spChg>
        <pc:grpChg chg="add del mod">
          <ac:chgData name="Fatma Alsagaf" userId="ef587b5e-378a-4bb3-aa9f-3c15b98138a4" providerId="ADAL" clId="{2C4FED9B-9DBB-485E-847B-E69390B4E6E4}" dt="2023-08-08T07:59:46.938" v="1172" actId="165"/>
          <ac:grpSpMkLst>
            <pc:docMk/>
            <pc:sldMk cId="692795662" sldId="2147377172"/>
            <ac:grpSpMk id="4" creationId="{B9ECC3D6-6162-0FA8-6D4E-90AB4B98EEDA}"/>
          </ac:grpSpMkLst>
        </pc:grpChg>
        <pc:grpChg chg="add del mod">
          <ac:chgData name="Fatma Alsagaf" userId="ef587b5e-378a-4bb3-aa9f-3c15b98138a4" providerId="ADAL" clId="{2C4FED9B-9DBB-485E-847B-E69390B4E6E4}" dt="2023-08-08T08:04:01.924" v="1217" actId="478"/>
          <ac:grpSpMkLst>
            <pc:docMk/>
            <pc:sldMk cId="692795662" sldId="2147377172"/>
            <ac:grpSpMk id="14" creationId="{37A1EE46-8F0F-9BB7-1608-4B47BC409916}"/>
          </ac:grpSpMkLst>
        </pc:grpChg>
        <pc:grpChg chg="add mod">
          <ac:chgData name="Fatma Alsagaf" userId="ef587b5e-378a-4bb3-aa9f-3c15b98138a4" providerId="ADAL" clId="{2C4FED9B-9DBB-485E-847B-E69390B4E6E4}" dt="2023-08-08T08:03:57.575" v="1216"/>
          <ac:grpSpMkLst>
            <pc:docMk/>
            <pc:sldMk cId="692795662" sldId="2147377172"/>
            <ac:grpSpMk id="21" creationId="{CF3986E5-AADE-0191-EDCE-8165E06F23C4}"/>
          </ac:grpSpMkLst>
        </pc:grpChg>
        <pc:graphicFrameChg chg="add del mod">
          <ac:chgData name="Fatma Alsagaf" userId="ef587b5e-378a-4bb3-aa9f-3c15b98138a4" providerId="ADAL" clId="{2C4FED9B-9DBB-485E-847B-E69390B4E6E4}" dt="2023-08-08T07:01:05.780" v="726" actId="478"/>
          <ac:graphicFrameMkLst>
            <pc:docMk/>
            <pc:sldMk cId="692795662" sldId="2147377172"/>
            <ac:graphicFrameMk id="2" creationId="{BE726F5C-828C-7B45-1E42-BF4D977309AD}"/>
          </ac:graphicFrameMkLst>
        </pc:graphicFrameChg>
        <pc:picChg chg="del">
          <ac:chgData name="Fatma Alsagaf" userId="ef587b5e-378a-4bb3-aa9f-3c15b98138a4" providerId="ADAL" clId="{2C4FED9B-9DBB-485E-847B-E69390B4E6E4}" dt="2023-08-08T07:32:57.253" v="1048" actId="478"/>
          <ac:picMkLst>
            <pc:docMk/>
            <pc:sldMk cId="692795662" sldId="2147377172"/>
            <ac:picMk id="1026" creationId="{1FE0B297-EF9C-DC9C-926A-BB1EBCA306A2}"/>
          </ac:picMkLst>
        </pc:picChg>
        <pc:cxnChg chg="add mod">
          <ac:chgData name="Fatma Alsagaf" userId="ef587b5e-378a-4bb3-aa9f-3c15b98138a4" providerId="ADAL" clId="{2C4FED9B-9DBB-485E-847B-E69390B4E6E4}" dt="2023-08-08T08:03:57.575" v="1216"/>
          <ac:cxnSpMkLst>
            <pc:docMk/>
            <pc:sldMk cId="692795662" sldId="2147377172"/>
            <ac:cxnSpMk id="17" creationId="{B6CEB7ED-D3B6-FD3B-60F7-A639F51F2229}"/>
          </ac:cxnSpMkLst>
        </pc:cxnChg>
      </pc:sldChg>
      <pc:sldChg chg="add del">
        <pc:chgData name="Fatma Alsagaf" userId="ef587b5e-378a-4bb3-aa9f-3c15b98138a4" providerId="ADAL" clId="{2C4FED9B-9DBB-485E-847B-E69390B4E6E4}" dt="2023-08-08T06:59:31.911" v="716"/>
        <pc:sldMkLst>
          <pc:docMk/>
          <pc:sldMk cId="929869235" sldId="2147377172"/>
        </pc:sldMkLst>
      </pc:sldChg>
      <pc:sldChg chg="modSp del mod">
        <pc:chgData name="Fatma Alsagaf" userId="ef587b5e-378a-4bb3-aa9f-3c15b98138a4" providerId="ADAL" clId="{2C4FED9B-9DBB-485E-847B-E69390B4E6E4}" dt="2023-08-08T06:31:51.209" v="677" actId="47"/>
        <pc:sldMkLst>
          <pc:docMk/>
          <pc:sldMk cId="2501136517" sldId="2147377172"/>
        </pc:sldMkLst>
        <pc:spChg chg="mod">
          <ac:chgData name="Fatma Alsagaf" userId="ef587b5e-378a-4bb3-aa9f-3c15b98138a4" providerId="ADAL" clId="{2C4FED9B-9DBB-485E-847B-E69390B4E6E4}" dt="2023-08-08T06:10:46" v="462" actId="207"/>
          <ac:spMkLst>
            <pc:docMk/>
            <pc:sldMk cId="2501136517" sldId="2147377172"/>
            <ac:spMk id="1066" creationId="{649670E1-86C1-FFF5-E7FA-54F86BD879E5}"/>
          </ac:spMkLst>
        </pc:spChg>
        <pc:spChg chg="mod">
          <ac:chgData name="Fatma Alsagaf" userId="ef587b5e-378a-4bb3-aa9f-3c15b98138a4" providerId="ADAL" clId="{2C4FED9B-9DBB-485E-847B-E69390B4E6E4}" dt="2023-08-08T06:10:41.241" v="461" actId="207"/>
          <ac:spMkLst>
            <pc:docMk/>
            <pc:sldMk cId="2501136517" sldId="2147377172"/>
            <ac:spMk id="1067" creationId="{93AA2B34-E5DF-6E9E-EB3F-3E9019AD4C44}"/>
          </ac:spMkLst>
        </pc:spChg>
      </pc:sldChg>
      <pc:sldChg chg="add del">
        <pc:chgData name="Fatma Alsagaf" userId="ef587b5e-378a-4bb3-aa9f-3c15b98138a4" providerId="ADAL" clId="{2C4FED9B-9DBB-485E-847B-E69390B4E6E4}" dt="2023-08-08T07:50:25.783" v="1077" actId="47"/>
        <pc:sldMkLst>
          <pc:docMk/>
          <pc:sldMk cId="2952746051" sldId="2147377173"/>
        </pc:sldMkLst>
      </pc:sldChg>
      <pc:sldChg chg="add del">
        <pc:chgData name="Fatma Alsagaf" userId="ef587b5e-378a-4bb3-aa9f-3c15b98138a4" providerId="ADAL" clId="{2C4FED9B-9DBB-485E-847B-E69390B4E6E4}" dt="2023-08-08T07:17:57.124" v="912"/>
        <pc:sldMkLst>
          <pc:docMk/>
          <pc:sldMk cId="3262683460" sldId="2147377173"/>
        </pc:sldMkLst>
      </pc:sldChg>
      <pc:sldChg chg="addSp delSp modSp add del mod modAnim">
        <pc:chgData name="Fatma Alsagaf" userId="ef587b5e-378a-4bb3-aa9f-3c15b98138a4" providerId="ADAL" clId="{2C4FED9B-9DBB-485E-847B-E69390B4E6E4}" dt="2023-08-08T06:59:20.639" v="713" actId="47"/>
        <pc:sldMkLst>
          <pc:docMk/>
          <pc:sldMk cId="3733600856" sldId="2147377173"/>
        </pc:sldMkLst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8" creationId="{0D1C93B0-2AF8-BE02-49A8-816B53846D87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15" creationId="{0C5F94C7-23F4-F3C1-BA00-E0998F3E4619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16" creationId="{52698CB2-C87E-6C07-2FF2-7F37C316CB93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18" creationId="{45D2E725-7432-9A04-46BA-3712FD669179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19" creationId="{4B052AA0-66D6-E98B-5404-A01F9AFCF9C2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23" creationId="{CBB5BBBD-657A-A043-3E11-C6CDF6782E7D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24" creationId="{F88002B4-6A40-869A-650D-65167A5AD0BF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25" creationId="{53C9D86F-B697-3445-4AFF-A6CABB68FFA1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29" creationId="{03DD6F13-6FF9-CB6F-7B99-5E977A4B2392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32" creationId="{97C6E6FF-513F-D886-7EA9-2414FACC00B0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37" creationId="{1DDF700D-4632-020D-D54C-A1E562D376FF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38" creationId="{416E7EFB-9196-9CA0-2959-215011FB64C6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39" creationId="{E1F633C1-E4AC-B4B4-45B2-E664B0A3ED05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40" creationId="{AFD58815-51B5-EFD6-06AE-5C85E269E9DA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41" creationId="{53435164-391A-D99C-7C24-BEF53B44C321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42" creationId="{0D1CE242-03F4-2567-FFCC-739F62EBF6BE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43" creationId="{4122A791-BF73-AA5A-C35A-737FBFD25F87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44" creationId="{A37D133B-B77B-88AE-6668-A00ACB4D6671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45" creationId="{49AB8CEA-FB7A-BAC3-3CBB-B0D4F67CBBC7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46" creationId="{D1DC2AED-8F00-FFF5-33F0-C19A4AF73CD9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47" creationId="{803223DD-92A1-B272-5A97-DEF4A8480218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48" creationId="{23E572EE-E376-E258-6F4A-B8FC3EA24FB0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49" creationId="{9A631C3E-BB7E-E456-5879-D6C23EFB6CC1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50" creationId="{A749528C-4E40-2B55-C8A8-0C609EF43022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51" creationId="{EC6E569B-7055-A499-9D10-85D95801A9FB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52" creationId="{46A60706-6B93-7E5C-2C61-C062A864D945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53" creationId="{3C2E57D4-CB8C-DA35-A99E-1C72DE9CA0F3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54" creationId="{6A68327B-4D44-C501-9235-9911A606C961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55" creationId="{EBBE1CB3-126A-0D5A-40D4-63BA2BC165D7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56" creationId="{A397FC5B-694D-6532-1DF5-27FC229FDE34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57" creationId="{E9F5FB72-A66B-6687-C9E4-EFFBF725342B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58" creationId="{B533C940-4E38-84C3-85C1-ED6D03113111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59" creationId="{46FCA7D5-EF04-F42B-CCD1-5C08D86FF511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60" creationId="{90A37BE7-5E39-A9CE-E32D-EF866B1B4FA0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61" creationId="{629585E0-8131-B7EB-012B-2F3C6B50247E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62" creationId="{90F94BA0-9CF6-CD4A-5DBC-E68FC3A372B6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63" creationId="{2D59C288-092B-C70F-E7D2-83131E8C64CE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64" creationId="{5969E70B-5C52-C326-3CAE-5AC9DAF0AAFF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65" creationId="{EC9CBBDE-7F02-049B-7FAD-DF4E5D559C97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66" creationId="{13035588-3049-8F63-A224-48F1834931A4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67" creationId="{59CFF995-0063-555D-700D-2701CD54A457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70" creationId="{93608FF2-453F-E721-1FD6-C462C34559A7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71" creationId="{4C4E704B-10CF-A30C-FA34-E3A20BEA715E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72" creationId="{28B23C24-4DF7-17F1-0EC2-65474DD22D6B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73" creationId="{E6028A0C-82AB-1CB0-1DAE-2CBBD281589E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74" creationId="{BA804DB7-AAFA-F9EA-7268-35EC3E4481D5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75" creationId="{285969FA-6EF2-59D6-A362-C1434D7AB05D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76" creationId="{9A59E5C4-3320-AF1A-6E41-FE0FAD3F55F5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77" creationId="{E0BD3D54-587E-E59C-D1CD-4E26317F0426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78" creationId="{DEE972AB-5093-6355-E6C5-CF76B468926F}"/>
          </ac:spMkLst>
        </pc:spChg>
        <pc:spChg chg="del">
          <ac:chgData name="Fatma Alsagaf" userId="ef587b5e-378a-4bb3-aa9f-3c15b98138a4" providerId="ADAL" clId="{2C4FED9B-9DBB-485E-847B-E69390B4E6E4}" dt="2023-08-08T06:10:21.337" v="460" actId="478"/>
          <ac:spMkLst>
            <pc:docMk/>
            <pc:sldMk cId="3733600856" sldId="2147377173"/>
            <ac:spMk id="79" creationId="{A59E1C83-D474-798D-20BF-E69C413AF5AA}"/>
          </ac:spMkLst>
        </pc:spChg>
        <pc:graphicFrameChg chg="add del mod modGraphic">
          <ac:chgData name="Fatma Alsagaf" userId="ef587b5e-378a-4bb3-aa9f-3c15b98138a4" providerId="ADAL" clId="{2C4FED9B-9DBB-485E-847B-E69390B4E6E4}" dt="2023-08-08T06:32:45.391" v="683" actId="207"/>
          <ac:graphicFrameMkLst>
            <pc:docMk/>
            <pc:sldMk cId="3733600856" sldId="2147377173"/>
            <ac:graphicFrameMk id="2" creationId="{FE6ADF1C-5D6B-5611-919D-9CDC8520B729}"/>
          </ac:graphicFrameMkLst>
        </pc:graphicFrameChg>
        <pc:graphicFrameChg chg="add del mod">
          <ac:chgData name="Fatma Alsagaf" userId="ef587b5e-378a-4bb3-aa9f-3c15b98138a4" providerId="ADAL" clId="{2C4FED9B-9DBB-485E-847B-E69390B4E6E4}" dt="2023-08-08T06:21:07.543" v="560" actId="478"/>
          <ac:graphicFrameMkLst>
            <pc:docMk/>
            <pc:sldMk cId="3733600856" sldId="2147377173"/>
            <ac:graphicFrameMk id="4" creationId="{446B0E09-34B7-3C05-9C82-B0AC34089A5C}"/>
          </ac:graphicFrameMkLst>
        </pc:graphicFrameChg>
        <pc:graphicFrameChg chg="add mod modGraphic">
          <ac:chgData name="Fatma Alsagaf" userId="ef587b5e-378a-4bb3-aa9f-3c15b98138a4" providerId="ADAL" clId="{2C4FED9B-9DBB-485E-847B-E69390B4E6E4}" dt="2023-08-08T06:32:36.652" v="680" actId="207"/>
          <ac:graphicFrameMkLst>
            <pc:docMk/>
            <pc:sldMk cId="3733600856" sldId="2147377173"/>
            <ac:graphicFrameMk id="5" creationId="{EF8FB65A-8060-2735-3C23-0027715DA2DC}"/>
          </ac:graphicFrameMkLst>
        </pc:graphicFrameChg>
        <pc:picChg chg="del">
          <ac:chgData name="Fatma Alsagaf" userId="ef587b5e-378a-4bb3-aa9f-3c15b98138a4" providerId="ADAL" clId="{2C4FED9B-9DBB-485E-847B-E69390B4E6E4}" dt="2023-08-08T06:10:21.337" v="460" actId="478"/>
          <ac:picMkLst>
            <pc:docMk/>
            <pc:sldMk cId="3733600856" sldId="2147377173"/>
            <ac:picMk id="1026" creationId="{1FE0B297-EF9C-DC9C-926A-BB1EBCA306A2}"/>
          </ac:picMkLst>
        </pc:picChg>
      </pc:sldChg>
      <pc:sldChg chg="addSp delSp modSp add mod delAnim modAnim">
        <pc:chgData name="Fatma Alsagaf" userId="ef587b5e-378a-4bb3-aa9f-3c15b98138a4" providerId="ADAL" clId="{2C4FED9B-9DBB-485E-847B-E69390B4E6E4}" dt="2023-08-08T08:07:49.808" v="1236" actId="207"/>
        <pc:sldMkLst>
          <pc:docMk/>
          <pc:sldMk cId="326889434" sldId="2147377174"/>
        </pc:sldMkLst>
        <pc:spChg chg="add mod">
          <ac:chgData name="Fatma Alsagaf" userId="ef587b5e-378a-4bb3-aa9f-3c15b98138a4" providerId="ADAL" clId="{2C4FED9B-9DBB-485E-847B-E69390B4E6E4}" dt="2023-08-08T08:06:24.162" v="1230" actId="207"/>
          <ac:spMkLst>
            <pc:docMk/>
            <pc:sldMk cId="326889434" sldId="2147377174"/>
            <ac:spMk id="2" creationId="{CF412A6A-3DFE-D247-06C4-338FD736E062}"/>
          </ac:spMkLst>
        </pc:spChg>
        <pc:spChg chg="del">
          <ac:chgData name="Fatma Alsagaf" userId="ef587b5e-378a-4bb3-aa9f-3c15b98138a4" providerId="ADAL" clId="{2C4FED9B-9DBB-485E-847B-E69390B4E6E4}" dt="2023-08-08T07:19:01.380" v="920" actId="478"/>
          <ac:spMkLst>
            <pc:docMk/>
            <pc:sldMk cId="326889434" sldId="2147377174"/>
            <ac:spMk id="3" creationId="{852407B0-0573-CDC9-50DD-E8096290CE8D}"/>
          </ac:spMkLst>
        </pc:spChg>
        <pc:spChg chg="del">
          <ac:chgData name="Fatma Alsagaf" userId="ef587b5e-378a-4bb3-aa9f-3c15b98138a4" providerId="ADAL" clId="{2C4FED9B-9DBB-485E-847B-E69390B4E6E4}" dt="2023-08-08T07:22:55.382" v="936" actId="478"/>
          <ac:spMkLst>
            <pc:docMk/>
            <pc:sldMk cId="326889434" sldId="2147377174"/>
            <ac:spMk id="8" creationId="{0D1C93B0-2AF8-BE02-49A8-816B53846D87}"/>
          </ac:spMkLst>
        </pc:spChg>
        <pc:spChg chg="del">
          <ac:chgData name="Fatma Alsagaf" userId="ef587b5e-378a-4bb3-aa9f-3c15b98138a4" providerId="ADAL" clId="{2C4FED9B-9DBB-485E-847B-E69390B4E6E4}" dt="2023-08-08T08:05:38.723" v="1228" actId="478"/>
          <ac:spMkLst>
            <pc:docMk/>
            <pc:sldMk cId="326889434" sldId="2147377174"/>
            <ac:spMk id="11" creationId="{3BA0A87D-C265-BD40-D004-99C672CDE078}"/>
          </ac:spMkLst>
        </pc:spChg>
        <pc:spChg chg="add del mod">
          <ac:chgData name="Fatma Alsagaf" userId="ef587b5e-378a-4bb3-aa9f-3c15b98138a4" providerId="ADAL" clId="{2C4FED9B-9DBB-485E-847B-E69390B4E6E4}" dt="2023-08-08T08:05:35.378" v="1226"/>
          <ac:spMkLst>
            <pc:docMk/>
            <pc:sldMk cId="326889434" sldId="2147377174"/>
            <ac:spMk id="18" creationId="{1640EC4C-8C38-FA97-B94F-A8722A490069}"/>
          </ac:spMkLst>
        </pc:spChg>
        <pc:spChg chg="mod">
          <ac:chgData name="Fatma Alsagaf" userId="ef587b5e-378a-4bb3-aa9f-3c15b98138a4" providerId="ADAL" clId="{2C4FED9B-9DBB-485E-847B-E69390B4E6E4}" dt="2023-08-08T08:05:23.526" v="1223"/>
          <ac:spMkLst>
            <pc:docMk/>
            <pc:sldMk cId="326889434" sldId="2147377174"/>
            <ac:spMk id="20" creationId="{D1DF5D83-61E4-9F95-1DFE-BC85F35B5600}"/>
          </ac:spMkLst>
        </pc:spChg>
        <pc:spChg chg="mod">
          <ac:chgData name="Fatma Alsagaf" userId="ef587b5e-378a-4bb3-aa9f-3c15b98138a4" providerId="ADAL" clId="{2C4FED9B-9DBB-485E-847B-E69390B4E6E4}" dt="2023-08-08T08:05:23.526" v="1223"/>
          <ac:spMkLst>
            <pc:docMk/>
            <pc:sldMk cId="326889434" sldId="2147377174"/>
            <ac:spMk id="21" creationId="{C52FBC16-5074-42AB-EABA-20DBFAA22481}"/>
          </ac:spMkLst>
        </pc:spChg>
        <pc:spChg chg="mod">
          <ac:chgData name="Fatma Alsagaf" userId="ef587b5e-378a-4bb3-aa9f-3c15b98138a4" providerId="ADAL" clId="{2C4FED9B-9DBB-485E-847B-E69390B4E6E4}" dt="2023-08-08T08:05:23.526" v="1223"/>
          <ac:spMkLst>
            <pc:docMk/>
            <pc:sldMk cId="326889434" sldId="2147377174"/>
            <ac:spMk id="22" creationId="{FF753BCD-1957-3176-FB55-6FA6D00620AE}"/>
          </ac:spMkLst>
        </pc:spChg>
        <pc:spChg chg="mod">
          <ac:chgData name="Fatma Alsagaf" userId="ef587b5e-378a-4bb3-aa9f-3c15b98138a4" providerId="ADAL" clId="{2C4FED9B-9DBB-485E-847B-E69390B4E6E4}" dt="2023-08-08T08:05:23.526" v="1223"/>
          <ac:spMkLst>
            <pc:docMk/>
            <pc:sldMk cId="326889434" sldId="2147377174"/>
            <ac:spMk id="23" creationId="{C09F1CE1-9F4F-6EBF-D390-E3D71FBCAC0F}"/>
          </ac:spMkLst>
        </pc:spChg>
        <pc:spChg chg="mod">
          <ac:chgData name="Fatma Alsagaf" userId="ef587b5e-378a-4bb3-aa9f-3c15b98138a4" providerId="ADAL" clId="{2C4FED9B-9DBB-485E-847B-E69390B4E6E4}" dt="2023-08-08T08:05:23.526" v="1223"/>
          <ac:spMkLst>
            <pc:docMk/>
            <pc:sldMk cId="326889434" sldId="2147377174"/>
            <ac:spMk id="24" creationId="{89173FD8-201D-60A5-933B-8F5F931EBEB5}"/>
          </ac:spMkLst>
        </pc:spChg>
        <pc:spChg chg="mod">
          <ac:chgData name="Fatma Alsagaf" userId="ef587b5e-378a-4bb3-aa9f-3c15b98138a4" providerId="ADAL" clId="{2C4FED9B-9DBB-485E-847B-E69390B4E6E4}" dt="2023-08-08T08:05:23.526" v="1223"/>
          <ac:spMkLst>
            <pc:docMk/>
            <pc:sldMk cId="326889434" sldId="2147377174"/>
            <ac:spMk id="25" creationId="{2F9388A8-C4A0-F465-3FFA-3810502C469F}"/>
          </ac:spMkLst>
        </pc:spChg>
        <pc:spChg chg="add mod">
          <ac:chgData name="Fatma Alsagaf" userId="ef587b5e-378a-4bb3-aa9f-3c15b98138a4" providerId="ADAL" clId="{2C4FED9B-9DBB-485E-847B-E69390B4E6E4}" dt="2023-08-08T08:06:29.949" v="1233" actId="208"/>
          <ac:spMkLst>
            <pc:docMk/>
            <pc:sldMk cId="326889434" sldId="2147377174"/>
            <ac:spMk id="27" creationId="{3ABD0155-027F-DEF2-6174-38A7B005F103}"/>
          </ac:spMkLst>
        </pc:spChg>
        <pc:spChg chg="del">
          <ac:chgData name="Fatma Alsagaf" userId="ef587b5e-378a-4bb3-aa9f-3c15b98138a4" providerId="ADAL" clId="{2C4FED9B-9DBB-485E-847B-E69390B4E6E4}" dt="2023-08-08T07:22:55.382" v="936" actId="478"/>
          <ac:spMkLst>
            <pc:docMk/>
            <pc:sldMk cId="326889434" sldId="2147377174"/>
            <ac:spMk id="29" creationId="{03DD6F13-6FF9-CB6F-7B99-5E977A4B2392}"/>
          </ac:spMkLst>
        </pc:spChg>
        <pc:spChg chg="mod">
          <ac:chgData name="Fatma Alsagaf" userId="ef587b5e-378a-4bb3-aa9f-3c15b98138a4" providerId="ADAL" clId="{2C4FED9B-9DBB-485E-847B-E69390B4E6E4}" dt="2023-08-08T08:05:39.440" v="1229"/>
          <ac:spMkLst>
            <pc:docMk/>
            <pc:sldMk cId="326889434" sldId="2147377174"/>
            <ac:spMk id="30" creationId="{32D2BEDB-B977-3D2A-8B9B-98EE66184043}"/>
          </ac:spMkLst>
        </pc:spChg>
        <pc:spChg chg="mod">
          <ac:chgData name="Fatma Alsagaf" userId="ef587b5e-378a-4bb3-aa9f-3c15b98138a4" providerId="ADAL" clId="{2C4FED9B-9DBB-485E-847B-E69390B4E6E4}" dt="2023-08-08T08:05:39.440" v="1229"/>
          <ac:spMkLst>
            <pc:docMk/>
            <pc:sldMk cId="326889434" sldId="2147377174"/>
            <ac:spMk id="31" creationId="{D3FD2EAD-4755-720D-1E11-16F0DEFF1DED}"/>
          </ac:spMkLst>
        </pc:spChg>
        <pc:spChg chg="del">
          <ac:chgData name="Fatma Alsagaf" userId="ef587b5e-378a-4bb3-aa9f-3c15b98138a4" providerId="ADAL" clId="{2C4FED9B-9DBB-485E-847B-E69390B4E6E4}" dt="2023-08-08T07:22:55.382" v="936" actId="478"/>
          <ac:spMkLst>
            <pc:docMk/>
            <pc:sldMk cId="326889434" sldId="2147377174"/>
            <ac:spMk id="32" creationId="{97C6E6FF-513F-D886-7EA9-2414FACC00B0}"/>
          </ac:spMkLst>
        </pc:spChg>
        <pc:spChg chg="mod">
          <ac:chgData name="Fatma Alsagaf" userId="ef587b5e-378a-4bb3-aa9f-3c15b98138a4" providerId="ADAL" clId="{2C4FED9B-9DBB-485E-847B-E69390B4E6E4}" dt="2023-08-08T08:05:39.440" v="1229"/>
          <ac:spMkLst>
            <pc:docMk/>
            <pc:sldMk cId="326889434" sldId="2147377174"/>
            <ac:spMk id="33" creationId="{99FDCA83-9671-44A0-C43C-3B094CEA5177}"/>
          </ac:spMkLst>
        </pc:spChg>
        <pc:spChg chg="mod">
          <ac:chgData name="Fatma Alsagaf" userId="ef587b5e-378a-4bb3-aa9f-3c15b98138a4" providerId="ADAL" clId="{2C4FED9B-9DBB-485E-847B-E69390B4E6E4}" dt="2023-08-08T08:05:39.440" v="1229"/>
          <ac:spMkLst>
            <pc:docMk/>
            <pc:sldMk cId="326889434" sldId="2147377174"/>
            <ac:spMk id="34" creationId="{C42B9109-B62C-B3AC-2B14-4291CDBD5BEC}"/>
          </ac:spMkLst>
        </pc:spChg>
        <pc:spChg chg="mod">
          <ac:chgData name="Fatma Alsagaf" userId="ef587b5e-378a-4bb3-aa9f-3c15b98138a4" providerId="ADAL" clId="{2C4FED9B-9DBB-485E-847B-E69390B4E6E4}" dt="2023-08-08T08:05:39.440" v="1229"/>
          <ac:spMkLst>
            <pc:docMk/>
            <pc:sldMk cId="326889434" sldId="2147377174"/>
            <ac:spMk id="35" creationId="{D7617AE9-902E-2A49-7198-EA4D6790B430}"/>
          </ac:spMkLst>
        </pc:spChg>
        <pc:spChg chg="mod">
          <ac:chgData name="Fatma Alsagaf" userId="ef587b5e-378a-4bb3-aa9f-3c15b98138a4" providerId="ADAL" clId="{2C4FED9B-9DBB-485E-847B-E69390B4E6E4}" dt="2023-08-08T08:05:39.440" v="1229"/>
          <ac:spMkLst>
            <pc:docMk/>
            <pc:sldMk cId="326889434" sldId="2147377174"/>
            <ac:spMk id="36" creationId="{E80DDDD4-F262-64B2-9C9C-D1F28B59A7A4}"/>
          </ac:spMkLst>
        </pc:spChg>
        <pc:spChg chg="del">
          <ac:chgData name="Fatma Alsagaf" userId="ef587b5e-378a-4bb3-aa9f-3c15b98138a4" providerId="ADAL" clId="{2C4FED9B-9DBB-485E-847B-E69390B4E6E4}" dt="2023-08-08T07:22:55.382" v="936" actId="478"/>
          <ac:spMkLst>
            <pc:docMk/>
            <pc:sldMk cId="326889434" sldId="2147377174"/>
            <ac:spMk id="37" creationId="{1DDF700D-4632-020D-D54C-A1E562D376FF}"/>
          </ac:spMkLst>
        </pc:spChg>
        <pc:spChg chg="del">
          <ac:chgData name="Fatma Alsagaf" userId="ef587b5e-378a-4bb3-aa9f-3c15b98138a4" providerId="ADAL" clId="{2C4FED9B-9DBB-485E-847B-E69390B4E6E4}" dt="2023-08-08T07:22:55.382" v="936" actId="478"/>
          <ac:spMkLst>
            <pc:docMk/>
            <pc:sldMk cId="326889434" sldId="2147377174"/>
            <ac:spMk id="38" creationId="{416E7EFB-9196-9CA0-2959-215011FB64C6}"/>
          </ac:spMkLst>
        </pc:spChg>
        <pc:spChg chg="del">
          <ac:chgData name="Fatma Alsagaf" userId="ef587b5e-378a-4bb3-aa9f-3c15b98138a4" providerId="ADAL" clId="{2C4FED9B-9DBB-485E-847B-E69390B4E6E4}" dt="2023-08-08T07:22:55.382" v="936" actId="478"/>
          <ac:spMkLst>
            <pc:docMk/>
            <pc:sldMk cId="326889434" sldId="2147377174"/>
            <ac:spMk id="39" creationId="{E1F633C1-E4AC-B4B4-45B2-E664B0A3ED05}"/>
          </ac:spMkLst>
        </pc:spChg>
        <pc:spChg chg="mod">
          <ac:chgData name="Fatma Alsagaf" userId="ef587b5e-378a-4bb3-aa9f-3c15b98138a4" providerId="ADAL" clId="{2C4FED9B-9DBB-485E-847B-E69390B4E6E4}" dt="2023-08-08T07:27:13.737" v="980" actId="20577"/>
          <ac:spMkLst>
            <pc:docMk/>
            <pc:sldMk cId="326889434" sldId="2147377174"/>
            <ac:spMk id="40" creationId="{AFD58815-51B5-EFD6-06AE-5C85E269E9DA}"/>
          </ac:spMkLst>
        </pc:spChg>
        <pc:spChg chg="mod">
          <ac:chgData name="Fatma Alsagaf" userId="ef587b5e-378a-4bb3-aa9f-3c15b98138a4" providerId="ADAL" clId="{2C4FED9B-9DBB-485E-847B-E69390B4E6E4}" dt="2023-08-08T07:25:31.228" v="949" actId="1076"/>
          <ac:spMkLst>
            <pc:docMk/>
            <pc:sldMk cId="326889434" sldId="2147377174"/>
            <ac:spMk id="41" creationId="{53435164-391A-D99C-7C24-BEF53B44C321}"/>
          </ac:spMkLst>
        </pc:spChg>
        <pc:spChg chg="mod">
          <ac:chgData name="Fatma Alsagaf" userId="ef587b5e-378a-4bb3-aa9f-3c15b98138a4" providerId="ADAL" clId="{2C4FED9B-9DBB-485E-847B-E69390B4E6E4}" dt="2023-08-08T07:25:12.034" v="947" actId="1076"/>
          <ac:spMkLst>
            <pc:docMk/>
            <pc:sldMk cId="326889434" sldId="2147377174"/>
            <ac:spMk id="42" creationId="{0D1CE242-03F4-2567-FFCC-739F62EBF6BE}"/>
          </ac:spMkLst>
        </pc:spChg>
        <pc:spChg chg="mod">
          <ac:chgData name="Fatma Alsagaf" userId="ef587b5e-378a-4bb3-aa9f-3c15b98138a4" providerId="ADAL" clId="{2C4FED9B-9DBB-485E-847B-E69390B4E6E4}" dt="2023-08-08T07:25:12.034" v="947" actId="1076"/>
          <ac:spMkLst>
            <pc:docMk/>
            <pc:sldMk cId="326889434" sldId="2147377174"/>
            <ac:spMk id="43" creationId="{4122A791-BF73-AA5A-C35A-737FBFD25F87}"/>
          </ac:spMkLst>
        </pc:spChg>
        <pc:spChg chg="mod">
          <ac:chgData name="Fatma Alsagaf" userId="ef587b5e-378a-4bb3-aa9f-3c15b98138a4" providerId="ADAL" clId="{2C4FED9B-9DBB-485E-847B-E69390B4E6E4}" dt="2023-08-08T07:30:28.086" v="1033" actId="207"/>
          <ac:spMkLst>
            <pc:docMk/>
            <pc:sldMk cId="326889434" sldId="2147377174"/>
            <ac:spMk id="44" creationId="{A37D133B-B77B-88AE-6668-A00ACB4D6671}"/>
          </ac:spMkLst>
        </pc:spChg>
        <pc:spChg chg="mod">
          <ac:chgData name="Fatma Alsagaf" userId="ef587b5e-378a-4bb3-aa9f-3c15b98138a4" providerId="ADAL" clId="{2C4FED9B-9DBB-485E-847B-E69390B4E6E4}" dt="2023-08-08T07:25:23.552" v="948" actId="1076"/>
          <ac:spMkLst>
            <pc:docMk/>
            <pc:sldMk cId="326889434" sldId="2147377174"/>
            <ac:spMk id="45" creationId="{49AB8CEA-FB7A-BAC3-3CBB-B0D4F67CBBC7}"/>
          </ac:spMkLst>
        </pc:spChg>
        <pc:spChg chg="mod">
          <ac:chgData name="Fatma Alsagaf" userId="ef587b5e-378a-4bb3-aa9f-3c15b98138a4" providerId="ADAL" clId="{2C4FED9B-9DBB-485E-847B-E69390B4E6E4}" dt="2023-08-08T07:29:47.109" v="1030" actId="20577"/>
          <ac:spMkLst>
            <pc:docMk/>
            <pc:sldMk cId="326889434" sldId="2147377174"/>
            <ac:spMk id="46" creationId="{D1DC2AED-8F00-FFF5-33F0-C19A4AF73CD9}"/>
          </ac:spMkLst>
        </pc:spChg>
        <pc:spChg chg="mod">
          <ac:chgData name="Fatma Alsagaf" userId="ef587b5e-378a-4bb3-aa9f-3c15b98138a4" providerId="ADAL" clId="{2C4FED9B-9DBB-485E-847B-E69390B4E6E4}" dt="2023-08-08T07:24:41.870" v="945" actId="1076"/>
          <ac:spMkLst>
            <pc:docMk/>
            <pc:sldMk cId="326889434" sldId="2147377174"/>
            <ac:spMk id="47" creationId="{803223DD-92A1-B272-5A97-DEF4A8480218}"/>
          </ac:spMkLst>
        </pc:spChg>
        <pc:spChg chg="mod">
          <ac:chgData name="Fatma Alsagaf" userId="ef587b5e-378a-4bb3-aa9f-3c15b98138a4" providerId="ADAL" clId="{2C4FED9B-9DBB-485E-847B-E69390B4E6E4}" dt="2023-08-08T07:25:06.200" v="946" actId="1076"/>
          <ac:spMkLst>
            <pc:docMk/>
            <pc:sldMk cId="326889434" sldId="2147377174"/>
            <ac:spMk id="48" creationId="{23E572EE-E376-E258-6F4A-B8FC3EA24FB0}"/>
          </ac:spMkLst>
        </pc:spChg>
        <pc:spChg chg="mod">
          <ac:chgData name="Fatma Alsagaf" userId="ef587b5e-378a-4bb3-aa9f-3c15b98138a4" providerId="ADAL" clId="{2C4FED9B-9DBB-485E-847B-E69390B4E6E4}" dt="2023-08-08T07:25:06.200" v="946" actId="1076"/>
          <ac:spMkLst>
            <pc:docMk/>
            <pc:sldMk cId="326889434" sldId="2147377174"/>
            <ac:spMk id="49" creationId="{9A631C3E-BB7E-E456-5879-D6C23EFB6CC1}"/>
          </ac:spMkLst>
        </pc:spChg>
        <pc:spChg chg="mod">
          <ac:chgData name="Fatma Alsagaf" userId="ef587b5e-378a-4bb3-aa9f-3c15b98138a4" providerId="ADAL" clId="{2C4FED9B-9DBB-485E-847B-E69390B4E6E4}" dt="2023-08-08T07:27:45.529" v="987" actId="20577"/>
          <ac:spMkLst>
            <pc:docMk/>
            <pc:sldMk cId="326889434" sldId="2147377174"/>
            <ac:spMk id="50" creationId="{A749528C-4E40-2B55-C8A8-0C609EF43022}"/>
          </ac:spMkLst>
        </pc:spChg>
        <pc:spChg chg="mod">
          <ac:chgData name="Fatma Alsagaf" userId="ef587b5e-378a-4bb3-aa9f-3c15b98138a4" providerId="ADAL" clId="{2C4FED9B-9DBB-485E-847B-E69390B4E6E4}" dt="2023-08-08T07:24:32.652" v="944" actId="1076"/>
          <ac:spMkLst>
            <pc:docMk/>
            <pc:sldMk cId="326889434" sldId="2147377174"/>
            <ac:spMk id="51" creationId="{EC6E569B-7055-A499-9D10-85D95801A9FB}"/>
          </ac:spMkLst>
        </pc:spChg>
        <pc:spChg chg="mod">
          <ac:chgData name="Fatma Alsagaf" userId="ef587b5e-378a-4bb3-aa9f-3c15b98138a4" providerId="ADAL" clId="{2C4FED9B-9DBB-485E-847B-E69390B4E6E4}" dt="2023-08-08T07:27:58.813" v="991" actId="20577"/>
          <ac:spMkLst>
            <pc:docMk/>
            <pc:sldMk cId="326889434" sldId="2147377174"/>
            <ac:spMk id="52" creationId="{46A60706-6B93-7E5C-2C61-C062A864D945}"/>
          </ac:spMkLst>
        </pc:spChg>
        <pc:spChg chg="mod">
          <ac:chgData name="Fatma Alsagaf" userId="ef587b5e-378a-4bb3-aa9f-3c15b98138a4" providerId="ADAL" clId="{2C4FED9B-9DBB-485E-847B-E69390B4E6E4}" dt="2023-08-08T07:24:16.637" v="943" actId="1076"/>
          <ac:spMkLst>
            <pc:docMk/>
            <pc:sldMk cId="326889434" sldId="2147377174"/>
            <ac:spMk id="53" creationId="{3C2E57D4-CB8C-DA35-A99E-1C72DE9CA0F3}"/>
          </ac:spMkLst>
        </pc:spChg>
        <pc:spChg chg="del">
          <ac:chgData name="Fatma Alsagaf" userId="ef587b5e-378a-4bb3-aa9f-3c15b98138a4" providerId="ADAL" clId="{2C4FED9B-9DBB-485E-847B-E69390B4E6E4}" dt="2023-08-08T07:21:51.701" v="932" actId="478"/>
          <ac:spMkLst>
            <pc:docMk/>
            <pc:sldMk cId="326889434" sldId="2147377174"/>
            <ac:spMk id="54" creationId="{6A68327B-4D44-C501-9235-9911A606C961}"/>
          </ac:spMkLst>
        </pc:spChg>
        <pc:spChg chg="del">
          <ac:chgData name="Fatma Alsagaf" userId="ef587b5e-378a-4bb3-aa9f-3c15b98138a4" providerId="ADAL" clId="{2C4FED9B-9DBB-485E-847B-E69390B4E6E4}" dt="2023-08-08T07:21:51.701" v="932" actId="478"/>
          <ac:spMkLst>
            <pc:docMk/>
            <pc:sldMk cId="326889434" sldId="2147377174"/>
            <ac:spMk id="55" creationId="{EBBE1CB3-126A-0D5A-40D4-63BA2BC165D7}"/>
          </ac:spMkLst>
        </pc:spChg>
        <pc:spChg chg="mod">
          <ac:chgData name="Fatma Alsagaf" userId="ef587b5e-378a-4bb3-aa9f-3c15b98138a4" providerId="ADAL" clId="{2C4FED9B-9DBB-485E-847B-E69390B4E6E4}" dt="2023-08-08T07:29:12.653" v="1026" actId="14100"/>
          <ac:spMkLst>
            <pc:docMk/>
            <pc:sldMk cId="326889434" sldId="2147377174"/>
            <ac:spMk id="56" creationId="{A397FC5B-694D-6532-1DF5-27FC229FDE34}"/>
          </ac:spMkLst>
        </pc:spChg>
        <pc:spChg chg="mod">
          <ac:chgData name="Fatma Alsagaf" userId="ef587b5e-378a-4bb3-aa9f-3c15b98138a4" providerId="ADAL" clId="{2C4FED9B-9DBB-485E-847B-E69390B4E6E4}" dt="2023-08-08T07:24:10.592" v="942" actId="1076"/>
          <ac:spMkLst>
            <pc:docMk/>
            <pc:sldMk cId="326889434" sldId="2147377174"/>
            <ac:spMk id="57" creationId="{E9F5FB72-A66B-6687-C9E4-EFFBF725342B}"/>
          </ac:spMkLst>
        </pc:spChg>
        <pc:spChg chg="mod">
          <ac:chgData name="Fatma Alsagaf" userId="ef587b5e-378a-4bb3-aa9f-3c15b98138a4" providerId="ADAL" clId="{2C4FED9B-9DBB-485E-847B-E69390B4E6E4}" dt="2023-08-08T07:30:34.141" v="1034" actId="207"/>
          <ac:spMkLst>
            <pc:docMk/>
            <pc:sldMk cId="326889434" sldId="2147377174"/>
            <ac:spMk id="58" creationId="{B533C940-4E38-84C3-85C1-ED6D03113111}"/>
          </ac:spMkLst>
        </pc:spChg>
        <pc:spChg chg="mod">
          <ac:chgData name="Fatma Alsagaf" userId="ef587b5e-378a-4bb3-aa9f-3c15b98138a4" providerId="ADAL" clId="{2C4FED9B-9DBB-485E-847B-E69390B4E6E4}" dt="2023-08-08T07:30:44.946" v="1037" actId="207"/>
          <ac:spMkLst>
            <pc:docMk/>
            <pc:sldMk cId="326889434" sldId="2147377174"/>
            <ac:spMk id="60" creationId="{90A37BE7-5E39-A9CE-E32D-EF866B1B4FA0}"/>
          </ac:spMkLst>
        </pc:spChg>
        <pc:spChg chg="mod">
          <ac:chgData name="Fatma Alsagaf" userId="ef587b5e-378a-4bb3-aa9f-3c15b98138a4" providerId="ADAL" clId="{2C4FED9B-9DBB-485E-847B-E69390B4E6E4}" dt="2023-08-08T07:26:51.331" v="973" actId="6549"/>
          <ac:spMkLst>
            <pc:docMk/>
            <pc:sldMk cId="326889434" sldId="2147377174"/>
            <ac:spMk id="62" creationId="{90F94BA0-9CF6-CD4A-5DBC-E68FC3A372B6}"/>
          </ac:spMkLst>
        </pc:spChg>
        <pc:spChg chg="mod">
          <ac:chgData name="Fatma Alsagaf" userId="ef587b5e-378a-4bb3-aa9f-3c15b98138a4" providerId="ADAL" clId="{2C4FED9B-9DBB-485E-847B-E69390B4E6E4}" dt="2023-08-08T07:30:40.399" v="1036" actId="207"/>
          <ac:spMkLst>
            <pc:docMk/>
            <pc:sldMk cId="326889434" sldId="2147377174"/>
            <ac:spMk id="66" creationId="{13035588-3049-8F63-A224-48F1834931A4}"/>
          </ac:spMkLst>
        </pc:spChg>
        <pc:spChg chg="mod">
          <ac:chgData name="Fatma Alsagaf" userId="ef587b5e-378a-4bb3-aa9f-3c15b98138a4" providerId="ADAL" clId="{2C4FED9B-9DBB-485E-847B-E69390B4E6E4}" dt="2023-08-08T08:07:49.808" v="1236" actId="207"/>
          <ac:spMkLst>
            <pc:docMk/>
            <pc:sldMk cId="326889434" sldId="2147377174"/>
            <ac:spMk id="70" creationId="{93608FF2-453F-E721-1FD6-C462C34559A7}"/>
          </ac:spMkLst>
        </pc:spChg>
        <pc:spChg chg="mod">
          <ac:chgData name="Fatma Alsagaf" userId="ef587b5e-378a-4bb3-aa9f-3c15b98138a4" providerId="ADAL" clId="{2C4FED9B-9DBB-485E-847B-E69390B4E6E4}" dt="2023-08-08T07:26:31.164" v="959" actId="20577"/>
          <ac:spMkLst>
            <pc:docMk/>
            <pc:sldMk cId="326889434" sldId="2147377174"/>
            <ac:spMk id="72" creationId="{28B23C24-4DF7-17F1-0EC2-65474DD22D6B}"/>
          </ac:spMkLst>
        </pc:spChg>
        <pc:spChg chg="mod">
          <ac:chgData name="Fatma Alsagaf" userId="ef587b5e-378a-4bb3-aa9f-3c15b98138a4" providerId="ADAL" clId="{2C4FED9B-9DBB-485E-847B-E69390B4E6E4}" dt="2023-08-08T07:30:36.068" v="1035" actId="207"/>
          <ac:spMkLst>
            <pc:docMk/>
            <pc:sldMk cId="326889434" sldId="2147377174"/>
            <ac:spMk id="76" creationId="{9A59E5C4-3320-AF1A-6E41-FE0FAD3F55F5}"/>
          </ac:spMkLst>
        </pc:spChg>
        <pc:spChg chg="del">
          <ac:chgData name="Fatma Alsagaf" userId="ef587b5e-378a-4bb3-aa9f-3c15b98138a4" providerId="ADAL" clId="{2C4FED9B-9DBB-485E-847B-E69390B4E6E4}" dt="2023-08-08T07:20:27.472" v="928" actId="478"/>
          <ac:spMkLst>
            <pc:docMk/>
            <pc:sldMk cId="326889434" sldId="2147377174"/>
            <ac:spMk id="78" creationId="{DEE972AB-5093-6355-E6C5-CF76B468926F}"/>
          </ac:spMkLst>
        </pc:spChg>
        <pc:spChg chg="del">
          <ac:chgData name="Fatma Alsagaf" userId="ef587b5e-378a-4bb3-aa9f-3c15b98138a4" providerId="ADAL" clId="{2C4FED9B-9DBB-485E-847B-E69390B4E6E4}" dt="2023-08-08T07:20:29.072" v="929" actId="478"/>
          <ac:spMkLst>
            <pc:docMk/>
            <pc:sldMk cId="326889434" sldId="2147377174"/>
            <ac:spMk id="79" creationId="{A59E1C83-D474-798D-20BF-E69C413AF5AA}"/>
          </ac:spMkLst>
        </pc:spChg>
        <pc:grpChg chg="add del">
          <ac:chgData name="Fatma Alsagaf" userId="ef587b5e-378a-4bb3-aa9f-3c15b98138a4" providerId="ADAL" clId="{2C4FED9B-9DBB-485E-847B-E69390B4E6E4}" dt="2023-08-08T08:05:36.983" v="1227" actId="478"/>
          <ac:grpSpMkLst>
            <pc:docMk/>
            <pc:sldMk cId="326889434" sldId="2147377174"/>
            <ac:grpSpMk id="4" creationId="{B9ECC3D6-6162-0FA8-6D4E-90AB4B98EEDA}"/>
          </ac:grpSpMkLst>
        </pc:grpChg>
        <pc:grpChg chg="add del mod">
          <ac:chgData name="Fatma Alsagaf" userId="ef587b5e-378a-4bb3-aa9f-3c15b98138a4" providerId="ADAL" clId="{2C4FED9B-9DBB-485E-847B-E69390B4E6E4}" dt="2023-08-08T08:05:35.378" v="1226"/>
          <ac:grpSpMkLst>
            <pc:docMk/>
            <pc:sldMk cId="326889434" sldId="2147377174"/>
            <ac:grpSpMk id="19" creationId="{DBC6B58B-8F50-EFF3-A037-D1E630CB8EE2}"/>
          </ac:grpSpMkLst>
        </pc:grpChg>
        <pc:grpChg chg="add mod">
          <ac:chgData name="Fatma Alsagaf" userId="ef587b5e-378a-4bb3-aa9f-3c15b98138a4" providerId="ADAL" clId="{2C4FED9B-9DBB-485E-847B-E69390B4E6E4}" dt="2023-08-08T08:05:39.440" v="1229"/>
          <ac:grpSpMkLst>
            <pc:docMk/>
            <pc:sldMk cId="326889434" sldId="2147377174"/>
            <ac:grpSpMk id="28" creationId="{5CF4D7C8-F771-D176-91C3-B672458214E6}"/>
          </ac:grpSpMkLst>
        </pc:grpChg>
        <pc:graphicFrameChg chg="add del mod">
          <ac:chgData name="Fatma Alsagaf" userId="ef587b5e-378a-4bb3-aa9f-3c15b98138a4" providerId="ADAL" clId="{2C4FED9B-9DBB-485E-847B-E69390B4E6E4}" dt="2023-08-08T07:23:11.168" v="938" actId="478"/>
          <ac:graphicFrameMkLst>
            <pc:docMk/>
            <pc:sldMk cId="326889434" sldId="2147377174"/>
            <ac:graphicFrameMk id="12" creationId="{4852216E-6441-0196-61C3-07AF4189E39A}"/>
          </ac:graphicFrameMkLst>
        </pc:graphicFrameChg>
        <pc:graphicFrameChg chg="add del mod">
          <ac:chgData name="Fatma Alsagaf" userId="ef587b5e-378a-4bb3-aa9f-3c15b98138a4" providerId="ADAL" clId="{2C4FED9B-9DBB-485E-847B-E69390B4E6E4}" dt="2023-08-08T07:26:09.253" v="951"/>
          <ac:graphicFrameMkLst>
            <pc:docMk/>
            <pc:sldMk cId="326889434" sldId="2147377174"/>
            <ac:graphicFrameMk id="13" creationId="{D235201C-5D26-7E63-0265-11831593B67C}"/>
          </ac:graphicFrameMkLst>
        </pc:graphicFrameChg>
        <pc:picChg chg="add del mod">
          <ac:chgData name="Fatma Alsagaf" userId="ef587b5e-378a-4bb3-aa9f-3c15b98138a4" providerId="ADAL" clId="{2C4FED9B-9DBB-485E-847B-E69390B4E6E4}" dt="2023-08-08T07:30:21.495" v="1032" actId="478"/>
          <ac:picMkLst>
            <pc:docMk/>
            <pc:sldMk cId="326889434" sldId="2147377174"/>
            <ac:picMk id="14" creationId="{30CEDBEF-873D-B4F0-575E-89677A7433C7}"/>
          </ac:picMkLst>
        </pc:picChg>
        <pc:picChg chg="del mod">
          <ac:chgData name="Fatma Alsagaf" userId="ef587b5e-378a-4bb3-aa9f-3c15b98138a4" providerId="ADAL" clId="{2C4FED9B-9DBB-485E-847B-E69390B4E6E4}" dt="2023-08-08T07:32:48.231" v="1047" actId="478"/>
          <ac:picMkLst>
            <pc:docMk/>
            <pc:sldMk cId="326889434" sldId="2147377174"/>
            <ac:picMk id="1026" creationId="{1FE0B297-EF9C-DC9C-926A-BB1EBCA306A2}"/>
          </ac:picMkLst>
        </pc:picChg>
        <pc:cxnChg chg="add del mod">
          <ac:chgData name="Fatma Alsagaf" userId="ef587b5e-378a-4bb3-aa9f-3c15b98138a4" providerId="ADAL" clId="{2C4FED9B-9DBB-485E-847B-E69390B4E6E4}" dt="2023-08-08T08:05:35.378" v="1226"/>
          <ac:cxnSpMkLst>
            <pc:docMk/>
            <pc:sldMk cId="326889434" sldId="2147377174"/>
            <ac:cxnSpMk id="17" creationId="{DE0A311C-3C18-712D-CEDC-37D82BE72B9A}"/>
          </ac:cxnSpMkLst>
        </pc:cxnChg>
        <pc:cxnChg chg="add mod">
          <ac:chgData name="Fatma Alsagaf" userId="ef587b5e-378a-4bb3-aa9f-3c15b98138a4" providerId="ADAL" clId="{2C4FED9B-9DBB-485E-847B-E69390B4E6E4}" dt="2023-08-08T08:05:39.440" v="1229"/>
          <ac:cxnSpMkLst>
            <pc:docMk/>
            <pc:sldMk cId="326889434" sldId="2147377174"/>
            <ac:cxnSpMk id="26" creationId="{6A7598B1-D04C-1115-27E3-C7E640E24087}"/>
          </ac:cxnSpMkLst>
        </pc:cxnChg>
      </pc:sldChg>
      <pc:sldChg chg="modSp add del mod ord">
        <pc:chgData name="Fatma Alsagaf" userId="ef587b5e-378a-4bb3-aa9f-3c15b98138a4" providerId="ADAL" clId="{2C4FED9B-9DBB-485E-847B-E69390B4E6E4}" dt="2023-08-08T06:59:22.716" v="714" actId="47"/>
        <pc:sldMkLst>
          <pc:docMk/>
          <pc:sldMk cId="3562233068" sldId="2147377174"/>
        </pc:sldMkLst>
        <pc:graphicFrameChg chg="modGraphic">
          <ac:chgData name="Fatma Alsagaf" userId="ef587b5e-378a-4bb3-aa9f-3c15b98138a4" providerId="ADAL" clId="{2C4FED9B-9DBB-485E-847B-E69390B4E6E4}" dt="2023-08-08T06:32:59.846" v="685" actId="2084"/>
          <ac:graphicFrameMkLst>
            <pc:docMk/>
            <pc:sldMk cId="3562233068" sldId="2147377174"/>
            <ac:graphicFrameMk id="2" creationId="{FE6ADF1C-5D6B-5611-919D-9CDC8520B729}"/>
          </ac:graphicFrameMkLst>
        </pc:graphicFrameChg>
        <pc:graphicFrameChg chg="modGraphic">
          <ac:chgData name="Fatma Alsagaf" userId="ef587b5e-378a-4bb3-aa9f-3c15b98138a4" providerId="ADAL" clId="{2C4FED9B-9DBB-485E-847B-E69390B4E6E4}" dt="2023-08-08T06:33:02.811" v="686" actId="2084"/>
          <ac:graphicFrameMkLst>
            <pc:docMk/>
            <pc:sldMk cId="3562233068" sldId="2147377174"/>
            <ac:graphicFrameMk id="5" creationId="{EF8FB65A-8060-2735-3C23-0027715DA2DC}"/>
          </ac:graphicFrameMkLst>
        </pc:graphicFrameChg>
      </pc:sldChg>
    </pc:docChg>
  </pc:docChgLst>
  <pc:docChgLst>
    <pc:chgData name="Fatma Alsagaf" userId="ef587b5e-378a-4bb3-aa9f-3c15b98138a4" providerId="ADAL" clId="{ED7BB00F-16F0-4F2C-8E00-5753756D00DF}"/>
    <pc:docChg chg="undo redo custSel modSld">
      <pc:chgData name="Fatma Alsagaf" userId="ef587b5e-378a-4bb3-aa9f-3c15b98138a4" providerId="ADAL" clId="{ED7BB00F-16F0-4F2C-8E00-5753756D00DF}" dt="2023-08-25T08:53:40.220" v="80" actId="20577"/>
      <pc:docMkLst>
        <pc:docMk/>
      </pc:docMkLst>
      <pc:sldChg chg="modSp mod">
        <pc:chgData name="Fatma Alsagaf" userId="ef587b5e-378a-4bb3-aa9f-3c15b98138a4" providerId="ADAL" clId="{ED7BB00F-16F0-4F2C-8E00-5753756D00DF}" dt="2023-08-25T08:48:24.514" v="38" actId="20577"/>
        <pc:sldMkLst>
          <pc:docMk/>
          <pc:sldMk cId="3312873017" sldId="2147377170"/>
        </pc:sldMkLst>
        <pc:spChg chg="mod">
          <ac:chgData name="Fatma Alsagaf" userId="ef587b5e-378a-4bb3-aa9f-3c15b98138a4" providerId="ADAL" clId="{ED7BB00F-16F0-4F2C-8E00-5753756D00DF}" dt="2023-08-25T08:46:15.107" v="6" actId="20577"/>
          <ac:spMkLst>
            <pc:docMk/>
            <pc:sldMk cId="3312873017" sldId="2147377170"/>
            <ac:spMk id="8" creationId="{0D1C93B0-2AF8-BE02-49A8-816B53846D87}"/>
          </ac:spMkLst>
        </pc:spChg>
        <pc:spChg chg="mod">
          <ac:chgData name="Fatma Alsagaf" userId="ef587b5e-378a-4bb3-aa9f-3c15b98138a4" providerId="ADAL" clId="{ED7BB00F-16F0-4F2C-8E00-5753756D00DF}" dt="2023-08-25T08:46:24.154" v="8" actId="20577"/>
          <ac:spMkLst>
            <pc:docMk/>
            <pc:sldMk cId="3312873017" sldId="2147377170"/>
            <ac:spMk id="38" creationId="{416E7EFB-9196-9CA0-2959-215011FB64C6}"/>
          </ac:spMkLst>
        </pc:spChg>
        <pc:spChg chg="mod">
          <ac:chgData name="Fatma Alsagaf" userId="ef587b5e-378a-4bb3-aa9f-3c15b98138a4" providerId="ADAL" clId="{ED7BB00F-16F0-4F2C-8E00-5753756D00DF}" dt="2023-08-25T08:46:30.508" v="10" actId="20577"/>
          <ac:spMkLst>
            <pc:docMk/>
            <pc:sldMk cId="3312873017" sldId="2147377170"/>
            <ac:spMk id="40" creationId="{AFD58815-51B5-EFD6-06AE-5C85E269E9DA}"/>
          </ac:spMkLst>
        </pc:spChg>
        <pc:spChg chg="mod">
          <ac:chgData name="Fatma Alsagaf" userId="ef587b5e-378a-4bb3-aa9f-3c15b98138a4" providerId="ADAL" clId="{ED7BB00F-16F0-4F2C-8E00-5753756D00DF}" dt="2023-08-25T08:47:57.405" v="32" actId="207"/>
          <ac:spMkLst>
            <pc:docMk/>
            <pc:sldMk cId="3312873017" sldId="2147377170"/>
            <ac:spMk id="44" creationId="{A37D133B-B77B-88AE-6668-A00ACB4D6671}"/>
          </ac:spMkLst>
        </pc:spChg>
        <pc:spChg chg="mod">
          <ac:chgData name="Fatma Alsagaf" userId="ef587b5e-378a-4bb3-aa9f-3c15b98138a4" providerId="ADAL" clId="{ED7BB00F-16F0-4F2C-8E00-5753756D00DF}" dt="2023-08-25T08:46:45.125" v="14" actId="20577"/>
          <ac:spMkLst>
            <pc:docMk/>
            <pc:sldMk cId="3312873017" sldId="2147377170"/>
            <ac:spMk id="46" creationId="{D1DC2AED-8F00-FFF5-33F0-C19A4AF73CD9}"/>
          </ac:spMkLst>
        </pc:spChg>
        <pc:spChg chg="mod">
          <ac:chgData name="Fatma Alsagaf" userId="ef587b5e-378a-4bb3-aa9f-3c15b98138a4" providerId="ADAL" clId="{ED7BB00F-16F0-4F2C-8E00-5753756D00DF}" dt="2023-08-25T08:46:56.584" v="18" actId="20577"/>
          <ac:spMkLst>
            <pc:docMk/>
            <pc:sldMk cId="3312873017" sldId="2147377170"/>
            <ac:spMk id="52" creationId="{46A60706-6B93-7E5C-2C61-C062A864D945}"/>
          </ac:spMkLst>
        </pc:spChg>
        <pc:spChg chg="mod">
          <ac:chgData name="Fatma Alsagaf" userId="ef587b5e-378a-4bb3-aa9f-3c15b98138a4" providerId="ADAL" clId="{ED7BB00F-16F0-4F2C-8E00-5753756D00DF}" dt="2023-08-25T08:47:54.731" v="31" actId="207"/>
          <ac:spMkLst>
            <pc:docMk/>
            <pc:sldMk cId="3312873017" sldId="2147377170"/>
            <ac:spMk id="58" creationId="{B533C940-4E38-84C3-85C1-ED6D03113111}"/>
          </ac:spMkLst>
        </pc:spChg>
        <pc:spChg chg="mod">
          <ac:chgData name="Fatma Alsagaf" userId="ef587b5e-378a-4bb3-aa9f-3c15b98138a4" providerId="ADAL" clId="{ED7BB00F-16F0-4F2C-8E00-5753756D00DF}" dt="2023-08-25T08:47:52.997" v="30" actId="207"/>
          <ac:spMkLst>
            <pc:docMk/>
            <pc:sldMk cId="3312873017" sldId="2147377170"/>
            <ac:spMk id="60" creationId="{90A37BE7-5E39-A9CE-E32D-EF866B1B4FA0}"/>
          </ac:spMkLst>
        </pc:spChg>
        <pc:spChg chg="mod">
          <ac:chgData name="Fatma Alsagaf" userId="ef587b5e-378a-4bb3-aa9f-3c15b98138a4" providerId="ADAL" clId="{ED7BB00F-16F0-4F2C-8E00-5753756D00DF}" dt="2023-08-25T08:47:27.733" v="24" actId="20577"/>
          <ac:spMkLst>
            <pc:docMk/>
            <pc:sldMk cId="3312873017" sldId="2147377170"/>
            <ac:spMk id="64" creationId="{5969E70B-5C52-C326-3CAE-5AC9DAF0AAFF}"/>
          </ac:spMkLst>
        </pc:spChg>
        <pc:spChg chg="mod">
          <ac:chgData name="Fatma Alsagaf" userId="ef587b5e-378a-4bb3-aa9f-3c15b98138a4" providerId="ADAL" clId="{ED7BB00F-16F0-4F2C-8E00-5753756D00DF}" dt="2023-08-25T08:47:43.063" v="29" actId="207"/>
          <ac:spMkLst>
            <pc:docMk/>
            <pc:sldMk cId="3312873017" sldId="2147377170"/>
            <ac:spMk id="66" creationId="{13035588-3049-8F63-A224-48F1834931A4}"/>
          </ac:spMkLst>
        </pc:spChg>
        <pc:spChg chg="mod">
          <ac:chgData name="Fatma Alsagaf" userId="ef587b5e-378a-4bb3-aa9f-3c15b98138a4" providerId="ADAL" clId="{ED7BB00F-16F0-4F2C-8E00-5753756D00DF}" dt="2023-08-25T08:48:15.009" v="36" actId="20577"/>
          <ac:spMkLst>
            <pc:docMk/>
            <pc:sldMk cId="3312873017" sldId="2147377170"/>
            <ac:spMk id="70" creationId="{93608FF2-453F-E721-1FD6-C462C34559A7}"/>
          </ac:spMkLst>
        </pc:spChg>
        <pc:spChg chg="mod">
          <ac:chgData name="Fatma Alsagaf" userId="ef587b5e-378a-4bb3-aa9f-3c15b98138a4" providerId="ADAL" clId="{ED7BB00F-16F0-4F2C-8E00-5753756D00DF}" dt="2023-08-25T08:48:24.514" v="38" actId="20577"/>
          <ac:spMkLst>
            <pc:docMk/>
            <pc:sldMk cId="3312873017" sldId="2147377170"/>
            <ac:spMk id="72" creationId="{28B23C24-4DF7-17F1-0EC2-65474DD22D6B}"/>
          </ac:spMkLst>
        </pc:spChg>
        <pc:grpChg chg="mod">
          <ac:chgData name="Fatma Alsagaf" userId="ef587b5e-378a-4bb3-aa9f-3c15b98138a4" providerId="ADAL" clId="{ED7BB00F-16F0-4F2C-8E00-5753756D00DF}" dt="2023-08-25T08:45:50.729" v="2" actId="1076"/>
          <ac:grpSpMkLst>
            <pc:docMk/>
            <pc:sldMk cId="3312873017" sldId="2147377170"/>
            <ac:grpSpMk id="95" creationId="{4780DFDD-FFB4-B342-88C0-7B9A629DA29F}"/>
          </ac:grpSpMkLst>
        </pc:grpChg>
      </pc:sldChg>
      <pc:sldChg chg="modSp mod">
        <pc:chgData name="Fatma Alsagaf" userId="ef587b5e-378a-4bb3-aa9f-3c15b98138a4" providerId="ADAL" clId="{ED7BB00F-16F0-4F2C-8E00-5753756D00DF}" dt="2023-08-25T08:51:33.002" v="65" actId="207"/>
        <pc:sldMkLst>
          <pc:docMk/>
          <pc:sldMk cId="692795662" sldId="2147377172"/>
        </pc:sldMkLst>
        <pc:spChg chg="mod">
          <ac:chgData name="Fatma Alsagaf" userId="ef587b5e-378a-4bb3-aa9f-3c15b98138a4" providerId="ADAL" clId="{ED7BB00F-16F0-4F2C-8E00-5753756D00DF}" dt="2023-08-25T08:48:49.871" v="40" actId="20577"/>
          <ac:spMkLst>
            <pc:docMk/>
            <pc:sldMk cId="692795662" sldId="2147377172"/>
            <ac:spMk id="38" creationId="{416E7EFB-9196-9CA0-2959-215011FB64C6}"/>
          </ac:spMkLst>
        </pc:spChg>
        <pc:spChg chg="mod">
          <ac:chgData name="Fatma Alsagaf" userId="ef587b5e-378a-4bb3-aa9f-3c15b98138a4" providerId="ADAL" clId="{ED7BB00F-16F0-4F2C-8E00-5753756D00DF}" dt="2023-08-25T08:49:01.277" v="44" actId="20577"/>
          <ac:spMkLst>
            <pc:docMk/>
            <pc:sldMk cId="692795662" sldId="2147377172"/>
            <ac:spMk id="46" creationId="{D1DC2AED-8F00-FFF5-33F0-C19A4AF73CD9}"/>
          </ac:spMkLst>
        </pc:spChg>
        <pc:spChg chg="mod">
          <ac:chgData name="Fatma Alsagaf" userId="ef587b5e-378a-4bb3-aa9f-3c15b98138a4" providerId="ADAL" clId="{ED7BB00F-16F0-4F2C-8E00-5753756D00DF}" dt="2023-08-25T08:49:17.277" v="46" actId="20577"/>
          <ac:spMkLst>
            <pc:docMk/>
            <pc:sldMk cId="692795662" sldId="2147377172"/>
            <ac:spMk id="58" creationId="{B533C940-4E38-84C3-85C1-ED6D03113111}"/>
          </ac:spMkLst>
        </pc:spChg>
        <pc:spChg chg="mod">
          <ac:chgData name="Fatma Alsagaf" userId="ef587b5e-378a-4bb3-aa9f-3c15b98138a4" providerId="ADAL" clId="{ED7BB00F-16F0-4F2C-8E00-5753756D00DF}" dt="2023-08-25T08:51:33.002" v="65" actId="207"/>
          <ac:spMkLst>
            <pc:docMk/>
            <pc:sldMk cId="692795662" sldId="2147377172"/>
            <ac:spMk id="60" creationId="{90A37BE7-5E39-A9CE-E32D-EF866B1B4FA0}"/>
          </ac:spMkLst>
        </pc:spChg>
        <pc:spChg chg="mod">
          <ac:chgData name="Fatma Alsagaf" userId="ef587b5e-378a-4bb3-aa9f-3c15b98138a4" providerId="ADAL" clId="{ED7BB00F-16F0-4F2C-8E00-5753756D00DF}" dt="2023-08-25T08:49:29.636" v="51" actId="20577"/>
          <ac:spMkLst>
            <pc:docMk/>
            <pc:sldMk cId="692795662" sldId="2147377172"/>
            <ac:spMk id="64" creationId="{5969E70B-5C52-C326-3CAE-5AC9DAF0AAFF}"/>
          </ac:spMkLst>
        </pc:spChg>
        <pc:spChg chg="mod">
          <ac:chgData name="Fatma Alsagaf" userId="ef587b5e-378a-4bb3-aa9f-3c15b98138a4" providerId="ADAL" clId="{ED7BB00F-16F0-4F2C-8E00-5753756D00DF}" dt="2023-08-25T08:49:35.986" v="55" actId="20577"/>
          <ac:spMkLst>
            <pc:docMk/>
            <pc:sldMk cId="692795662" sldId="2147377172"/>
            <ac:spMk id="66" creationId="{13035588-3049-8F63-A224-48F1834931A4}"/>
          </ac:spMkLst>
        </pc:spChg>
        <pc:spChg chg="mod">
          <ac:chgData name="Fatma Alsagaf" userId="ef587b5e-378a-4bb3-aa9f-3c15b98138a4" providerId="ADAL" clId="{ED7BB00F-16F0-4F2C-8E00-5753756D00DF}" dt="2023-08-25T08:50:00.037" v="60" actId="207"/>
          <ac:spMkLst>
            <pc:docMk/>
            <pc:sldMk cId="692795662" sldId="2147377172"/>
            <ac:spMk id="70" creationId="{93608FF2-453F-E721-1FD6-C462C34559A7}"/>
          </ac:spMkLst>
        </pc:spChg>
        <pc:grpChg chg="mod">
          <ac:chgData name="Fatma Alsagaf" userId="ef587b5e-378a-4bb3-aa9f-3c15b98138a4" providerId="ADAL" clId="{ED7BB00F-16F0-4F2C-8E00-5753756D00DF}" dt="2023-08-25T08:45:35.246" v="0" actId="1076"/>
          <ac:grpSpMkLst>
            <pc:docMk/>
            <pc:sldMk cId="692795662" sldId="2147377172"/>
            <ac:grpSpMk id="21" creationId="{CF3986E5-AADE-0191-EDCE-8165E06F23C4}"/>
          </ac:grpSpMkLst>
        </pc:grpChg>
      </pc:sldChg>
      <pc:sldChg chg="modSp mod">
        <pc:chgData name="Fatma Alsagaf" userId="ef587b5e-378a-4bb3-aa9f-3c15b98138a4" providerId="ADAL" clId="{ED7BB00F-16F0-4F2C-8E00-5753756D00DF}" dt="2023-08-25T08:53:40.220" v="80" actId="20577"/>
        <pc:sldMkLst>
          <pc:docMk/>
          <pc:sldMk cId="326889434" sldId="2147377174"/>
        </pc:sldMkLst>
        <pc:spChg chg="mod">
          <ac:chgData name="Fatma Alsagaf" userId="ef587b5e-378a-4bb3-aa9f-3c15b98138a4" providerId="ADAL" clId="{ED7BB00F-16F0-4F2C-8E00-5753756D00DF}" dt="2023-08-25T08:53:00.060" v="68" actId="20577"/>
          <ac:spMkLst>
            <pc:docMk/>
            <pc:sldMk cId="326889434" sldId="2147377174"/>
            <ac:spMk id="46" creationId="{D1DC2AED-8F00-FFF5-33F0-C19A4AF73CD9}"/>
          </ac:spMkLst>
        </pc:spChg>
        <pc:spChg chg="mod">
          <ac:chgData name="Fatma Alsagaf" userId="ef587b5e-378a-4bb3-aa9f-3c15b98138a4" providerId="ADAL" clId="{ED7BB00F-16F0-4F2C-8E00-5753756D00DF}" dt="2023-08-25T08:53:21.528" v="71" actId="20577"/>
          <ac:spMkLst>
            <pc:docMk/>
            <pc:sldMk cId="326889434" sldId="2147377174"/>
            <ac:spMk id="64" creationId="{5969E70B-5C52-C326-3CAE-5AC9DAF0AAFF}"/>
          </ac:spMkLst>
        </pc:spChg>
        <pc:spChg chg="mod">
          <ac:chgData name="Fatma Alsagaf" userId="ef587b5e-378a-4bb3-aa9f-3c15b98138a4" providerId="ADAL" clId="{ED7BB00F-16F0-4F2C-8E00-5753756D00DF}" dt="2023-08-25T08:53:33.023" v="76" actId="207"/>
          <ac:spMkLst>
            <pc:docMk/>
            <pc:sldMk cId="326889434" sldId="2147377174"/>
            <ac:spMk id="66" creationId="{13035588-3049-8F63-A224-48F1834931A4}"/>
          </ac:spMkLst>
        </pc:spChg>
        <pc:spChg chg="mod">
          <ac:chgData name="Fatma Alsagaf" userId="ef587b5e-378a-4bb3-aa9f-3c15b98138a4" providerId="ADAL" clId="{ED7BB00F-16F0-4F2C-8E00-5753756D00DF}" dt="2023-08-25T08:53:40.220" v="80" actId="20577"/>
          <ac:spMkLst>
            <pc:docMk/>
            <pc:sldMk cId="326889434" sldId="2147377174"/>
            <ac:spMk id="70" creationId="{93608FF2-453F-E721-1FD6-C462C34559A7}"/>
          </ac:spMkLst>
        </pc:spChg>
        <pc:grpChg chg="mod">
          <ac:chgData name="Fatma Alsagaf" userId="ef587b5e-378a-4bb3-aa9f-3c15b98138a4" providerId="ADAL" clId="{ED7BB00F-16F0-4F2C-8E00-5753756D00DF}" dt="2023-08-25T08:45:43.345" v="1" actId="1076"/>
          <ac:grpSpMkLst>
            <pc:docMk/>
            <pc:sldMk cId="326889434" sldId="2147377174"/>
            <ac:grpSpMk id="28" creationId="{5CF4D7C8-F771-D176-91C3-B672458214E6}"/>
          </ac:grpSpMkLst>
        </pc:grpChg>
      </pc:sldChg>
    </pc:docChg>
  </pc:docChgLst>
  <pc:docChgLst>
    <pc:chgData name="Fatma Alsagaf" userId="ef587b5e-378a-4bb3-aa9f-3c15b98138a4" providerId="ADAL" clId="{08602044-A7E6-477B-AE29-863E9BEAF858}"/>
    <pc:docChg chg="delSld modSld">
      <pc:chgData name="Fatma Alsagaf" userId="ef587b5e-378a-4bb3-aa9f-3c15b98138a4" providerId="ADAL" clId="{08602044-A7E6-477B-AE29-863E9BEAF858}" dt="2023-08-25T07:57:02.739" v="1" actId="6549"/>
      <pc:docMkLst>
        <pc:docMk/>
      </pc:docMkLst>
      <pc:sldChg chg="modSp mod">
        <pc:chgData name="Fatma Alsagaf" userId="ef587b5e-378a-4bb3-aa9f-3c15b98138a4" providerId="ADAL" clId="{08602044-A7E6-477B-AE29-863E9BEAF858}" dt="2023-08-25T07:57:02.739" v="1" actId="6549"/>
        <pc:sldMkLst>
          <pc:docMk/>
          <pc:sldMk cId="3394842380" sldId="2147377079"/>
        </pc:sldMkLst>
        <pc:spChg chg="mod">
          <ac:chgData name="Fatma Alsagaf" userId="ef587b5e-378a-4bb3-aa9f-3c15b98138a4" providerId="ADAL" clId="{08602044-A7E6-477B-AE29-863E9BEAF858}" dt="2023-08-25T07:57:02.739" v="1" actId="6549"/>
          <ac:spMkLst>
            <pc:docMk/>
            <pc:sldMk cId="3394842380" sldId="2147377079"/>
            <ac:spMk id="8" creationId="{00000000-0000-0000-0000-000000000000}"/>
          </ac:spMkLst>
        </pc:spChg>
      </pc:sldChg>
      <pc:sldChg chg="del">
        <pc:chgData name="Fatma Alsagaf" userId="ef587b5e-378a-4bb3-aa9f-3c15b98138a4" providerId="ADAL" clId="{08602044-A7E6-477B-AE29-863E9BEAF858}" dt="2023-08-25T07:56:52.626" v="0" actId="47"/>
        <pc:sldMkLst>
          <pc:docMk/>
          <pc:sldMk cId="884389446" sldId="2147377178"/>
        </pc:sldMkLst>
      </pc:sldChg>
    </pc:docChg>
  </pc:docChgLst>
  <pc:docChgLst>
    <pc:chgData name="Fatma Alsagaf" userId="ef587b5e-378a-4bb3-aa9f-3c15b98138a4" providerId="ADAL" clId="{805A27F0-C317-46DB-B335-801E7A72C388}"/>
    <pc:docChg chg="undo redo custSel modSld">
      <pc:chgData name="Fatma Alsagaf" userId="ef587b5e-378a-4bb3-aa9f-3c15b98138a4" providerId="ADAL" clId="{805A27F0-C317-46DB-B335-801E7A72C388}" dt="2023-08-25T07:56:24.794" v="150" actId="1076"/>
      <pc:docMkLst>
        <pc:docMk/>
      </pc:docMkLst>
      <pc:sldChg chg="modSp mod">
        <pc:chgData name="Fatma Alsagaf" userId="ef587b5e-378a-4bb3-aa9f-3c15b98138a4" providerId="ADAL" clId="{805A27F0-C317-46DB-B335-801E7A72C388}" dt="2023-08-21T12:05:18.002" v="134" actId="20577"/>
        <pc:sldMkLst>
          <pc:docMk/>
          <pc:sldMk cId="3394842380" sldId="2147377079"/>
        </pc:sldMkLst>
        <pc:spChg chg="mod">
          <ac:chgData name="Fatma Alsagaf" userId="ef587b5e-378a-4bb3-aa9f-3c15b98138a4" providerId="ADAL" clId="{805A27F0-C317-46DB-B335-801E7A72C388}" dt="2023-08-21T12:05:18.002" v="134" actId="20577"/>
          <ac:spMkLst>
            <pc:docMk/>
            <pc:sldMk cId="3394842380" sldId="2147377079"/>
            <ac:spMk id="8" creationId="{00000000-0000-0000-0000-000000000000}"/>
          </ac:spMkLst>
        </pc:spChg>
      </pc:sldChg>
      <pc:sldChg chg="modSp mod">
        <pc:chgData name="Fatma Alsagaf" userId="ef587b5e-378a-4bb3-aa9f-3c15b98138a4" providerId="ADAL" clId="{805A27F0-C317-46DB-B335-801E7A72C388}" dt="2023-08-25T07:56:24.794" v="150" actId="1076"/>
        <pc:sldMkLst>
          <pc:docMk/>
          <pc:sldMk cId="3312873017" sldId="2147377170"/>
        </pc:sldMkLst>
        <pc:grpChg chg="mod">
          <ac:chgData name="Fatma Alsagaf" userId="ef587b5e-378a-4bb3-aa9f-3c15b98138a4" providerId="ADAL" clId="{805A27F0-C317-46DB-B335-801E7A72C388}" dt="2023-08-25T07:56:24.794" v="150" actId="1076"/>
          <ac:grpSpMkLst>
            <pc:docMk/>
            <pc:sldMk cId="3312873017" sldId="2147377170"/>
            <ac:grpSpMk id="95" creationId="{4780DFDD-FFB4-B342-88C0-7B9A629DA29F}"/>
          </ac:grpSpMkLst>
        </pc:grpChg>
      </pc:sldChg>
      <pc:sldChg chg="modSp mod">
        <pc:chgData name="Fatma Alsagaf" userId="ef587b5e-378a-4bb3-aa9f-3c15b98138a4" providerId="ADAL" clId="{805A27F0-C317-46DB-B335-801E7A72C388}" dt="2023-08-25T07:56:24.310" v="149" actId="1076"/>
        <pc:sldMkLst>
          <pc:docMk/>
          <pc:sldMk cId="692795662" sldId="2147377172"/>
        </pc:sldMkLst>
        <pc:grpChg chg="mod">
          <ac:chgData name="Fatma Alsagaf" userId="ef587b5e-378a-4bb3-aa9f-3c15b98138a4" providerId="ADAL" clId="{805A27F0-C317-46DB-B335-801E7A72C388}" dt="2023-08-25T07:56:24.310" v="149" actId="1076"/>
          <ac:grpSpMkLst>
            <pc:docMk/>
            <pc:sldMk cId="692795662" sldId="2147377172"/>
            <ac:grpSpMk id="21" creationId="{CF3986E5-AADE-0191-EDCE-8165E06F23C4}"/>
          </ac:grpSpMkLst>
        </pc:grpChg>
      </pc:sldChg>
      <pc:sldChg chg="modSp mod">
        <pc:chgData name="Fatma Alsagaf" userId="ef587b5e-378a-4bb3-aa9f-3c15b98138a4" providerId="ADAL" clId="{805A27F0-C317-46DB-B335-801E7A72C388}" dt="2023-08-25T07:56:23.802" v="148" actId="1076"/>
        <pc:sldMkLst>
          <pc:docMk/>
          <pc:sldMk cId="326889434" sldId="2147377174"/>
        </pc:sldMkLst>
        <pc:grpChg chg="mod">
          <ac:chgData name="Fatma Alsagaf" userId="ef587b5e-378a-4bb3-aa9f-3c15b98138a4" providerId="ADAL" clId="{805A27F0-C317-46DB-B335-801E7A72C388}" dt="2023-08-25T07:56:23.802" v="148" actId="1076"/>
          <ac:grpSpMkLst>
            <pc:docMk/>
            <pc:sldMk cId="326889434" sldId="2147377174"/>
            <ac:grpSpMk id="28" creationId="{5CF4D7C8-F771-D176-91C3-B672458214E6}"/>
          </ac:grpSpMkLst>
        </pc:grpChg>
      </pc:sldChg>
      <pc:sldChg chg="addSp modSp mod">
        <pc:chgData name="Fatma Alsagaf" userId="ef587b5e-378a-4bb3-aa9f-3c15b98138a4" providerId="ADAL" clId="{805A27F0-C317-46DB-B335-801E7A72C388}" dt="2023-08-21T12:05:22.046" v="136" actId="20577"/>
        <pc:sldMkLst>
          <pc:docMk/>
          <pc:sldMk cId="884389446" sldId="2147377178"/>
        </pc:sldMkLst>
        <pc:spChg chg="mod">
          <ac:chgData name="Fatma Alsagaf" userId="ef587b5e-378a-4bb3-aa9f-3c15b98138a4" providerId="ADAL" clId="{805A27F0-C317-46DB-B335-801E7A72C388}" dt="2023-08-21T12:05:22.046" v="136" actId="20577"/>
          <ac:spMkLst>
            <pc:docMk/>
            <pc:sldMk cId="884389446" sldId="2147377178"/>
            <ac:spMk id="4" creationId="{D0D12A05-E2C4-C556-4237-8F219B8C80B2}"/>
          </ac:spMkLst>
        </pc:spChg>
        <pc:spChg chg="mod">
          <ac:chgData name="Fatma Alsagaf" userId="ef587b5e-378a-4bb3-aa9f-3c15b98138a4" providerId="ADAL" clId="{805A27F0-C317-46DB-B335-801E7A72C388}" dt="2023-08-21T12:04:41.669" v="129" actId="14100"/>
          <ac:spMkLst>
            <pc:docMk/>
            <pc:sldMk cId="884389446" sldId="2147377178"/>
            <ac:spMk id="56" creationId="{594345A9-F3E8-57E6-75BC-51AFF585B7DA}"/>
          </ac:spMkLst>
        </pc:spChg>
        <pc:spChg chg="mod">
          <ac:chgData name="Fatma Alsagaf" userId="ef587b5e-378a-4bb3-aa9f-3c15b98138a4" providerId="ADAL" clId="{805A27F0-C317-46DB-B335-801E7A72C388}" dt="2023-08-21T12:03:56.531" v="117" actId="14100"/>
          <ac:spMkLst>
            <pc:docMk/>
            <pc:sldMk cId="884389446" sldId="2147377178"/>
            <ac:spMk id="64" creationId="{536536B2-DA2C-A033-2319-9EA4B459F78E}"/>
          </ac:spMkLst>
        </pc:spChg>
        <pc:spChg chg="mod">
          <ac:chgData name="Fatma Alsagaf" userId="ef587b5e-378a-4bb3-aa9f-3c15b98138a4" providerId="ADAL" clId="{805A27F0-C317-46DB-B335-801E7A72C388}" dt="2023-08-21T12:02:36.904" v="39" actId="20577"/>
          <ac:spMkLst>
            <pc:docMk/>
            <pc:sldMk cId="884389446" sldId="2147377178"/>
            <ac:spMk id="71" creationId="{9CF2C56A-DA63-2639-97DF-2F5C4EDE1630}"/>
          </ac:spMkLst>
        </pc:spChg>
        <pc:spChg chg="mod">
          <ac:chgData name="Fatma Alsagaf" userId="ef587b5e-378a-4bb3-aa9f-3c15b98138a4" providerId="ADAL" clId="{805A27F0-C317-46DB-B335-801E7A72C388}" dt="2023-08-21T12:02:30.180" v="38" actId="20577"/>
          <ac:spMkLst>
            <pc:docMk/>
            <pc:sldMk cId="884389446" sldId="2147377178"/>
            <ac:spMk id="85" creationId="{20E705F6-FA40-5530-E4E6-F502F3685A00}"/>
          </ac:spMkLst>
        </pc:spChg>
        <pc:spChg chg="mod">
          <ac:chgData name="Fatma Alsagaf" userId="ef587b5e-378a-4bb3-aa9f-3c15b98138a4" providerId="ADAL" clId="{805A27F0-C317-46DB-B335-801E7A72C388}" dt="2023-08-21T12:04:50.279" v="130" actId="14100"/>
          <ac:spMkLst>
            <pc:docMk/>
            <pc:sldMk cId="884389446" sldId="2147377178"/>
            <ac:spMk id="1135" creationId="{5623696E-978A-90DC-1451-391BCD63EBE5}"/>
          </ac:spMkLst>
        </pc:spChg>
        <pc:spChg chg="mod">
          <ac:chgData name="Fatma Alsagaf" userId="ef587b5e-378a-4bb3-aa9f-3c15b98138a4" providerId="ADAL" clId="{805A27F0-C317-46DB-B335-801E7A72C388}" dt="2023-08-21T12:04:05.645" v="118" actId="14100"/>
          <ac:spMkLst>
            <pc:docMk/>
            <pc:sldMk cId="884389446" sldId="2147377178"/>
            <ac:spMk id="1143" creationId="{C31C3C76-848E-7F7E-EDCF-14B4E18E03E9}"/>
          </ac:spMkLst>
        </pc:spChg>
        <pc:spChg chg="mod">
          <ac:chgData name="Fatma Alsagaf" userId="ef587b5e-378a-4bb3-aa9f-3c15b98138a4" providerId="ADAL" clId="{805A27F0-C317-46DB-B335-801E7A72C388}" dt="2023-08-21T12:00:40.714" v="1" actId="14100"/>
          <ac:spMkLst>
            <pc:docMk/>
            <pc:sldMk cId="884389446" sldId="2147377178"/>
            <ac:spMk id="1215" creationId="{9570993C-0596-2B65-FB13-EE8C34BA445D}"/>
          </ac:spMkLst>
        </pc:spChg>
        <pc:spChg chg="mod">
          <ac:chgData name="Fatma Alsagaf" userId="ef587b5e-378a-4bb3-aa9f-3c15b98138a4" providerId="ADAL" clId="{805A27F0-C317-46DB-B335-801E7A72C388}" dt="2023-08-21T12:01:34.951" v="20" actId="20577"/>
          <ac:spMkLst>
            <pc:docMk/>
            <pc:sldMk cId="884389446" sldId="2147377178"/>
            <ac:spMk id="1216" creationId="{9F450735-C6D4-06E6-8486-4CBA0FB1B38F}"/>
          </ac:spMkLst>
        </pc:spChg>
        <pc:spChg chg="mod">
          <ac:chgData name="Fatma Alsagaf" userId="ef587b5e-378a-4bb3-aa9f-3c15b98138a4" providerId="ADAL" clId="{805A27F0-C317-46DB-B335-801E7A72C388}" dt="2023-08-21T12:01:30.532" v="16" actId="20577"/>
          <ac:spMkLst>
            <pc:docMk/>
            <pc:sldMk cId="884389446" sldId="2147377178"/>
            <ac:spMk id="1217" creationId="{9F92D10B-A4BE-1FEB-2E5A-8F2EA5E1B4B4}"/>
          </ac:spMkLst>
        </pc:spChg>
        <pc:spChg chg="mod">
          <ac:chgData name="Fatma Alsagaf" userId="ef587b5e-378a-4bb3-aa9f-3c15b98138a4" providerId="ADAL" clId="{805A27F0-C317-46DB-B335-801E7A72C388}" dt="2023-08-21T12:00:53.226" v="6" actId="1076"/>
          <ac:spMkLst>
            <pc:docMk/>
            <pc:sldMk cId="884389446" sldId="2147377178"/>
            <ac:spMk id="1218" creationId="{65114EEB-1CFE-9BC0-5465-4D42483C4A10}"/>
          </ac:spMkLst>
        </pc:spChg>
        <pc:spChg chg="mod">
          <ac:chgData name="Fatma Alsagaf" userId="ef587b5e-378a-4bb3-aa9f-3c15b98138a4" providerId="ADAL" clId="{805A27F0-C317-46DB-B335-801E7A72C388}" dt="2023-08-21T12:00:58.510" v="9" actId="14100"/>
          <ac:spMkLst>
            <pc:docMk/>
            <pc:sldMk cId="884389446" sldId="2147377178"/>
            <ac:spMk id="1237" creationId="{50AD354D-457B-955D-E3EF-614AA9223050}"/>
          </ac:spMkLst>
        </pc:spChg>
        <pc:spChg chg="mod">
          <ac:chgData name="Fatma Alsagaf" userId="ef587b5e-378a-4bb3-aa9f-3c15b98138a4" providerId="ADAL" clId="{805A27F0-C317-46DB-B335-801E7A72C388}" dt="2023-08-21T12:01:12.248" v="10" actId="14100"/>
          <ac:spMkLst>
            <pc:docMk/>
            <pc:sldMk cId="884389446" sldId="2147377178"/>
            <ac:spMk id="1238" creationId="{14F49049-9FB3-B95D-C130-5525BAC8E225}"/>
          </ac:spMkLst>
        </pc:spChg>
        <pc:spChg chg="mod">
          <ac:chgData name="Fatma Alsagaf" userId="ef587b5e-378a-4bb3-aa9f-3c15b98138a4" providerId="ADAL" clId="{805A27F0-C317-46DB-B335-801E7A72C388}" dt="2023-08-21T12:01:47.550" v="30" actId="20577"/>
          <ac:spMkLst>
            <pc:docMk/>
            <pc:sldMk cId="884389446" sldId="2147377178"/>
            <ac:spMk id="1239" creationId="{64D81084-FAB1-1FA3-0CCF-C685C5E678B5}"/>
          </ac:spMkLst>
        </pc:spChg>
        <pc:spChg chg="mod">
          <ac:chgData name="Fatma Alsagaf" userId="ef587b5e-378a-4bb3-aa9f-3c15b98138a4" providerId="ADAL" clId="{805A27F0-C317-46DB-B335-801E7A72C388}" dt="2023-08-21T12:01:41.355" v="24" actId="20577"/>
          <ac:spMkLst>
            <pc:docMk/>
            <pc:sldMk cId="884389446" sldId="2147377178"/>
            <ac:spMk id="1240" creationId="{09F68519-8EE9-8E74-1EFB-B84065CCA534}"/>
          </ac:spMkLst>
        </pc:spChg>
        <pc:spChg chg="mod">
          <ac:chgData name="Fatma Alsagaf" userId="ef587b5e-378a-4bb3-aa9f-3c15b98138a4" providerId="ADAL" clId="{805A27F0-C317-46DB-B335-801E7A72C388}" dt="2023-08-21T12:01:21.367" v="12" actId="20577"/>
          <ac:spMkLst>
            <pc:docMk/>
            <pc:sldMk cId="884389446" sldId="2147377178"/>
            <ac:spMk id="1241" creationId="{1D71184F-862B-4F18-8AD6-62F1ED56C979}"/>
          </ac:spMkLst>
        </pc:spChg>
        <pc:spChg chg="mod">
          <ac:chgData name="Fatma Alsagaf" userId="ef587b5e-378a-4bb3-aa9f-3c15b98138a4" providerId="ADAL" clId="{805A27F0-C317-46DB-B335-801E7A72C388}" dt="2023-08-21T12:04:17.442" v="120" actId="20577"/>
          <ac:spMkLst>
            <pc:docMk/>
            <pc:sldMk cId="884389446" sldId="2147377178"/>
            <ac:spMk id="1245" creationId="{44B7D8B9-4B95-31F9-CB0B-64E393439074}"/>
          </ac:spMkLst>
        </pc:spChg>
        <pc:spChg chg="mod">
          <ac:chgData name="Fatma Alsagaf" userId="ef587b5e-378a-4bb3-aa9f-3c15b98138a4" providerId="ADAL" clId="{805A27F0-C317-46DB-B335-801E7A72C388}" dt="2023-08-21T12:04:27.243" v="125" actId="20577"/>
          <ac:spMkLst>
            <pc:docMk/>
            <pc:sldMk cId="884389446" sldId="2147377178"/>
            <ac:spMk id="1246" creationId="{BA3A32B2-7FC8-C1F2-E117-A510FD7F969B}"/>
          </ac:spMkLst>
        </pc:spChg>
        <pc:spChg chg="mod">
          <ac:chgData name="Fatma Alsagaf" userId="ef587b5e-378a-4bb3-aa9f-3c15b98138a4" providerId="ADAL" clId="{805A27F0-C317-46DB-B335-801E7A72C388}" dt="2023-08-21T12:03:27.953" v="103" actId="20577"/>
          <ac:spMkLst>
            <pc:docMk/>
            <pc:sldMk cId="884389446" sldId="2147377178"/>
            <ac:spMk id="1247" creationId="{C337FC8D-5117-6F31-7192-15CE883C0A81}"/>
          </ac:spMkLst>
        </pc:spChg>
        <pc:spChg chg="mod">
          <ac:chgData name="Fatma Alsagaf" userId="ef587b5e-378a-4bb3-aa9f-3c15b98138a4" providerId="ADAL" clId="{805A27F0-C317-46DB-B335-801E7A72C388}" dt="2023-08-21T12:03:44.827" v="116" actId="1038"/>
          <ac:spMkLst>
            <pc:docMk/>
            <pc:sldMk cId="884389446" sldId="2147377178"/>
            <ac:spMk id="1248" creationId="{607E6321-F27A-4450-DED0-A686937C78A3}"/>
          </ac:spMkLst>
        </pc:spChg>
        <pc:spChg chg="mod">
          <ac:chgData name="Fatma Alsagaf" userId="ef587b5e-378a-4bb3-aa9f-3c15b98138a4" providerId="ADAL" clId="{805A27F0-C317-46DB-B335-801E7A72C388}" dt="2023-08-21T12:04:19.935" v="123" actId="20577"/>
          <ac:spMkLst>
            <pc:docMk/>
            <pc:sldMk cId="884389446" sldId="2147377178"/>
            <ac:spMk id="1251" creationId="{7CE9E3F0-9706-9594-FEB8-BAEFF4DA8349}"/>
          </ac:spMkLst>
        </pc:spChg>
        <pc:spChg chg="mod">
          <ac:chgData name="Fatma Alsagaf" userId="ef587b5e-378a-4bb3-aa9f-3c15b98138a4" providerId="ADAL" clId="{805A27F0-C317-46DB-B335-801E7A72C388}" dt="2023-08-21T12:04:30.936" v="128" actId="20577"/>
          <ac:spMkLst>
            <pc:docMk/>
            <pc:sldMk cId="884389446" sldId="2147377178"/>
            <ac:spMk id="1252" creationId="{442498DD-7DB1-5657-1EBE-E1190FD9B360}"/>
          </ac:spMkLst>
        </pc:spChg>
        <pc:spChg chg="mod">
          <ac:chgData name="Fatma Alsagaf" userId="ef587b5e-378a-4bb3-aa9f-3c15b98138a4" providerId="ADAL" clId="{805A27F0-C317-46DB-B335-801E7A72C388}" dt="2023-08-21T12:03:31.740" v="106" actId="20577"/>
          <ac:spMkLst>
            <pc:docMk/>
            <pc:sldMk cId="884389446" sldId="2147377178"/>
            <ac:spMk id="1253" creationId="{1DCA665E-3E10-3BEE-8ACD-DE84BC92D381}"/>
          </ac:spMkLst>
        </pc:spChg>
        <pc:spChg chg="mod">
          <ac:chgData name="Fatma Alsagaf" userId="ef587b5e-378a-4bb3-aa9f-3c15b98138a4" providerId="ADAL" clId="{805A27F0-C317-46DB-B335-801E7A72C388}" dt="2023-08-21T12:03:39.518" v="110" actId="20577"/>
          <ac:spMkLst>
            <pc:docMk/>
            <pc:sldMk cId="884389446" sldId="2147377178"/>
            <ac:spMk id="1254" creationId="{C6DAFC9D-8E1C-9D98-03EB-CBC5798D68B8}"/>
          </ac:spMkLst>
        </pc:spChg>
        <pc:graphicFrameChg chg="modGraphic">
          <ac:chgData name="Fatma Alsagaf" userId="ef587b5e-378a-4bb3-aa9f-3c15b98138a4" providerId="ADAL" clId="{805A27F0-C317-46DB-B335-801E7A72C388}" dt="2023-08-21T12:05:03.216" v="132" actId="20577"/>
          <ac:graphicFrameMkLst>
            <pc:docMk/>
            <pc:sldMk cId="884389446" sldId="2147377178"/>
            <ac:graphicFrameMk id="33" creationId="{BB1546A7-9F16-23AC-9BBB-0D4F9DE206F3}"/>
          </ac:graphicFrameMkLst>
        </pc:graphicFrameChg>
        <pc:cxnChg chg="add mod">
          <ac:chgData name="Fatma Alsagaf" userId="ef587b5e-378a-4bb3-aa9f-3c15b98138a4" providerId="ADAL" clId="{805A27F0-C317-46DB-B335-801E7A72C388}" dt="2023-08-21T12:03:01.033" v="97" actId="1038"/>
          <ac:cxnSpMkLst>
            <pc:docMk/>
            <pc:sldMk cId="884389446" sldId="2147377178"/>
            <ac:cxnSpMk id="2" creationId="{26BFA3E1-EEAC-2577-2889-8059460FA995}"/>
          </ac:cxnSpMkLst>
        </pc:cxnChg>
        <pc:cxnChg chg="mod">
          <ac:chgData name="Fatma Alsagaf" userId="ef587b5e-378a-4bb3-aa9f-3c15b98138a4" providerId="ADAL" clId="{805A27F0-C317-46DB-B335-801E7A72C388}" dt="2023-08-21T12:02:42.738" v="43" actId="1038"/>
          <ac:cxnSpMkLst>
            <pc:docMk/>
            <pc:sldMk cId="884389446" sldId="2147377178"/>
            <ac:cxnSpMk id="73" creationId="{740794BA-4BAE-F479-4DE3-1256C64B5D37}"/>
          </ac:cxnSpMkLst>
        </pc:cxnChg>
      </pc:sldChg>
    </pc:docChg>
  </pc:docChgLst>
  <pc:docChgLst>
    <pc:chgData name="Fatma Alsagaf" userId="ef587b5e-378a-4bb3-aa9f-3c15b98138a4" providerId="ADAL" clId="{D5D1CFD7-B0E9-461E-825C-BEBD6588129F}"/>
    <pc:docChg chg="undo custSel delSld modSld">
      <pc:chgData name="Fatma Alsagaf" userId="ef587b5e-378a-4bb3-aa9f-3c15b98138a4" providerId="ADAL" clId="{D5D1CFD7-B0E9-461E-825C-BEBD6588129F}" dt="2024-01-17T08:57:56.384" v="107" actId="6549"/>
      <pc:docMkLst>
        <pc:docMk/>
      </pc:docMkLst>
      <pc:sldChg chg="del">
        <pc:chgData name="Fatma Alsagaf" userId="ef587b5e-378a-4bb3-aa9f-3c15b98138a4" providerId="ADAL" clId="{D5D1CFD7-B0E9-461E-825C-BEBD6588129F}" dt="2024-01-17T08:52:43.156" v="0" actId="47"/>
        <pc:sldMkLst>
          <pc:docMk/>
          <pc:sldMk cId="3394842380" sldId="2147377079"/>
        </pc:sldMkLst>
      </pc:sldChg>
      <pc:sldChg chg="del">
        <pc:chgData name="Fatma Alsagaf" userId="ef587b5e-378a-4bb3-aa9f-3c15b98138a4" providerId="ADAL" clId="{D5D1CFD7-B0E9-461E-825C-BEBD6588129F}" dt="2024-01-17T08:52:44.890" v="1" actId="47"/>
        <pc:sldMkLst>
          <pc:docMk/>
          <pc:sldMk cId="57202049" sldId="2147377173"/>
        </pc:sldMkLst>
      </pc:sldChg>
      <pc:sldChg chg="addSp delSp modSp mod">
        <pc:chgData name="Fatma Alsagaf" userId="ef587b5e-378a-4bb3-aa9f-3c15b98138a4" providerId="ADAL" clId="{D5D1CFD7-B0E9-461E-825C-BEBD6588129F}" dt="2024-01-17T08:57:56.384" v="107" actId="6549"/>
        <pc:sldMkLst>
          <pc:docMk/>
          <pc:sldMk cId="1873415763" sldId="2147377175"/>
        </pc:sldMkLst>
        <pc:spChg chg="add del mod">
          <ac:chgData name="Fatma Alsagaf" userId="ef587b5e-378a-4bb3-aa9f-3c15b98138a4" providerId="ADAL" clId="{D5D1CFD7-B0E9-461E-825C-BEBD6588129F}" dt="2024-01-17T08:57:42.924" v="93" actId="478"/>
          <ac:spMkLst>
            <pc:docMk/>
            <pc:sldMk cId="1873415763" sldId="2147377175"/>
            <ac:spMk id="2" creationId="{ECB6203F-9E7D-EBD7-34CC-07E0C2E85407}"/>
          </ac:spMkLst>
        </pc:spChg>
        <pc:spChg chg="add del mod">
          <ac:chgData name="Fatma Alsagaf" userId="ef587b5e-378a-4bb3-aa9f-3c15b98138a4" providerId="ADAL" clId="{D5D1CFD7-B0E9-461E-825C-BEBD6588129F}" dt="2024-01-17T08:57:42.924" v="93" actId="478"/>
          <ac:spMkLst>
            <pc:docMk/>
            <pc:sldMk cId="1873415763" sldId="2147377175"/>
            <ac:spMk id="3" creationId="{E987D6DC-F66C-FD84-08AF-57DEBE64BCB1}"/>
          </ac:spMkLst>
        </pc:spChg>
        <pc:spChg chg="add del mod">
          <ac:chgData name="Fatma Alsagaf" userId="ef587b5e-378a-4bb3-aa9f-3c15b98138a4" providerId="ADAL" clId="{D5D1CFD7-B0E9-461E-825C-BEBD6588129F}" dt="2024-01-17T08:57:42.924" v="93" actId="478"/>
          <ac:spMkLst>
            <pc:docMk/>
            <pc:sldMk cId="1873415763" sldId="2147377175"/>
            <ac:spMk id="4" creationId="{B1413745-EE55-6573-39A6-113C0308F6AB}"/>
          </ac:spMkLst>
        </pc:spChg>
        <pc:spChg chg="add mod">
          <ac:chgData name="Fatma Alsagaf" userId="ef587b5e-378a-4bb3-aa9f-3c15b98138a4" providerId="ADAL" clId="{D5D1CFD7-B0E9-461E-825C-BEBD6588129F}" dt="2024-01-17T08:57:43.202" v="94"/>
          <ac:spMkLst>
            <pc:docMk/>
            <pc:sldMk cId="1873415763" sldId="2147377175"/>
            <ac:spMk id="5" creationId="{D8A6A14E-8391-4EDE-3145-43942225C811}"/>
          </ac:spMkLst>
        </pc:spChg>
        <pc:spChg chg="add mod">
          <ac:chgData name="Fatma Alsagaf" userId="ef587b5e-378a-4bb3-aa9f-3c15b98138a4" providerId="ADAL" clId="{D5D1CFD7-B0E9-461E-825C-BEBD6588129F}" dt="2024-01-17T08:57:56.384" v="107" actId="6549"/>
          <ac:spMkLst>
            <pc:docMk/>
            <pc:sldMk cId="1873415763" sldId="2147377175"/>
            <ac:spMk id="6" creationId="{472E84B9-3DAB-5D8C-92D5-10BBF6C0D756}"/>
          </ac:spMkLst>
        </pc:spChg>
        <pc:spChg chg="add mod">
          <ac:chgData name="Fatma Alsagaf" userId="ef587b5e-378a-4bb3-aa9f-3c15b98138a4" providerId="ADAL" clId="{D5D1CFD7-B0E9-461E-825C-BEBD6588129F}" dt="2024-01-17T08:57:43.202" v="94"/>
          <ac:spMkLst>
            <pc:docMk/>
            <pc:sldMk cId="1873415763" sldId="2147377175"/>
            <ac:spMk id="7" creationId="{46F6E849-41DB-F60D-9C0C-18F550FDE3F5}"/>
          </ac:spMkLst>
        </pc:spChg>
      </pc:sldChg>
    </pc:docChg>
  </pc:docChgLst>
  <pc:docChgLst>
    <pc:chgData name="Fatma Alsagaf" userId="ef587b5e-378a-4bb3-aa9f-3c15b98138a4" providerId="ADAL" clId="{90DD5882-6ECA-4849-B2F1-D2CA5394E1EB}"/>
    <pc:docChg chg="undo custSel delSld modSld">
      <pc:chgData name="Fatma Alsagaf" userId="ef587b5e-378a-4bb3-aa9f-3c15b98138a4" providerId="ADAL" clId="{90DD5882-6ECA-4849-B2F1-D2CA5394E1EB}" dt="2023-09-01T06:53:04.746" v="104" actId="207"/>
      <pc:docMkLst>
        <pc:docMk/>
      </pc:docMkLst>
      <pc:sldChg chg="modSp mod">
        <pc:chgData name="Fatma Alsagaf" userId="ef587b5e-378a-4bb3-aa9f-3c15b98138a4" providerId="ADAL" clId="{90DD5882-6ECA-4849-B2F1-D2CA5394E1EB}" dt="2023-09-01T06:29:52.667" v="6" actId="20577"/>
        <pc:sldMkLst>
          <pc:docMk/>
          <pc:sldMk cId="3394842380" sldId="2147377079"/>
        </pc:sldMkLst>
        <pc:spChg chg="mod">
          <ac:chgData name="Fatma Alsagaf" userId="ef587b5e-378a-4bb3-aa9f-3c15b98138a4" providerId="ADAL" clId="{90DD5882-6ECA-4849-B2F1-D2CA5394E1EB}" dt="2023-09-01T06:29:52.667" v="6" actId="20577"/>
          <ac:spMkLst>
            <pc:docMk/>
            <pc:sldMk cId="3394842380" sldId="2147377079"/>
            <ac:spMk id="8" creationId="{00000000-0000-0000-0000-000000000000}"/>
          </ac:spMkLst>
        </pc:spChg>
      </pc:sldChg>
      <pc:sldChg chg="modSp mod">
        <pc:chgData name="Fatma Alsagaf" userId="ef587b5e-378a-4bb3-aa9f-3c15b98138a4" providerId="ADAL" clId="{90DD5882-6ECA-4849-B2F1-D2CA5394E1EB}" dt="2023-09-01T06:32:56.242" v="38" actId="20577"/>
        <pc:sldMkLst>
          <pc:docMk/>
          <pc:sldMk cId="3312873017" sldId="2147377170"/>
        </pc:sldMkLst>
        <pc:spChg chg="mod">
          <ac:chgData name="Fatma Alsagaf" userId="ef587b5e-378a-4bb3-aa9f-3c15b98138a4" providerId="ADAL" clId="{90DD5882-6ECA-4849-B2F1-D2CA5394E1EB}" dt="2023-09-01T06:30:22.739" v="13" actId="207"/>
          <ac:spMkLst>
            <pc:docMk/>
            <pc:sldMk cId="3312873017" sldId="2147377170"/>
            <ac:spMk id="8" creationId="{0D1C93B0-2AF8-BE02-49A8-816B53846D87}"/>
          </ac:spMkLst>
        </pc:spChg>
        <pc:spChg chg="mod">
          <ac:chgData name="Fatma Alsagaf" userId="ef587b5e-378a-4bb3-aa9f-3c15b98138a4" providerId="ADAL" clId="{90DD5882-6ECA-4849-B2F1-D2CA5394E1EB}" dt="2023-09-01T06:30:47.549" v="18" actId="207"/>
          <ac:spMkLst>
            <pc:docMk/>
            <pc:sldMk cId="3312873017" sldId="2147377170"/>
            <ac:spMk id="38" creationId="{416E7EFB-9196-9CA0-2959-215011FB64C6}"/>
          </ac:spMkLst>
        </pc:spChg>
        <pc:spChg chg="mod">
          <ac:chgData name="Fatma Alsagaf" userId="ef587b5e-378a-4bb3-aa9f-3c15b98138a4" providerId="ADAL" clId="{90DD5882-6ECA-4849-B2F1-D2CA5394E1EB}" dt="2023-09-01T06:30:59.466" v="20" actId="20577"/>
          <ac:spMkLst>
            <pc:docMk/>
            <pc:sldMk cId="3312873017" sldId="2147377170"/>
            <ac:spMk id="40" creationId="{AFD58815-51B5-EFD6-06AE-5C85E269E9DA}"/>
          </ac:spMkLst>
        </pc:spChg>
        <pc:spChg chg="mod">
          <ac:chgData name="Fatma Alsagaf" userId="ef587b5e-378a-4bb3-aa9f-3c15b98138a4" providerId="ADAL" clId="{90DD5882-6ECA-4849-B2F1-D2CA5394E1EB}" dt="2023-09-01T06:31:19.753" v="22" actId="20577"/>
          <ac:spMkLst>
            <pc:docMk/>
            <pc:sldMk cId="3312873017" sldId="2147377170"/>
            <ac:spMk id="46" creationId="{D1DC2AED-8F00-FFF5-33F0-C19A4AF73CD9}"/>
          </ac:spMkLst>
        </pc:spChg>
        <pc:spChg chg="mod">
          <ac:chgData name="Fatma Alsagaf" userId="ef587b5e-378a-4bb3-aa9f-3c15b98138a4" providerId="ADAL" clId="{90DD5882-6ECA-4849-B2F1-D2CA5394E1EB}" dt="2023-09-01T06:31:38.780" v="26" actId="20577"/>
          <ac:spMkLst>
            <pc:docMk/>
            <pc:sldMk cId="3312873017" sldId="2147377170"/>
            <ac:spMk id="52" creationId="{46A60706-6B93-7E5C-2C61-C062A864D945}"/>
          </ac:spMkLst>
        </pc:spChg>
        <pc:spChg chg="mod">
          <ac:chgData name="Fatma Alsagaf" userId="ef587b5e-378a-4bb3-aa9f-3c15b98138a4" providerId="ADAL" clId="{90DD5882-6ECA-4849-B2F1-D2CA5394E1EB}" dt="2023-09-01T06:31:58.406" v="28" actId="20577"/>
          <ac:spMkLst>
            <pc:docMk/>
            <pc:sldMk cId="3312873017" sldId="2147377170"/>
            <ac:spMk id="58" creationId="{B533C940-4E38-84C3-85C1-ED6D03113111}"/>
          </ac:spMkLst>
        </pc:spChg>
        <pc:spChg chg="mod">
          <ac:chgData name="Fatma Alsagaf" userId="ef587b5e-378a-4bb3-aa9f-3c15b98138a4" providerId="ADAL" clId="{90DD5882-6ECA-4849-B2F1-D2CA5394E1EB}" dt="2023-09-01T06:32:02.717" v="30" actId="20577"/>
          <ac:spMkLst>
            <pc:docMk/>
            <pc:sldMk cId="3312873017" sldId="2147377170"/>
            <ac:spMk id="60" creationId="{90A37BE7-5E39-A9CE-E32D-EF866B1B4FA0}"/>
          </ac:spMkLst>
        </pc:spChg>
        <pc:spChg chg="mod">
          <ac:chgData name="Fatma Alsagaf" userId="ef587b5e-378a-4bb3-aa9f-3c15b98138a4" providerId="ADAL" clId="{90DD5882-6ECA-4849-B2F1-D2CA5394E1EB}" dt="2023-09-01T06:32:15.023" v="32" actId="20577"/>
          <ac:spMkLst>
            <pc:docMk/>
            <pc:sldMk cId="3312873017" sldId="2147377170"/>
            <ac:spMk id="64" creationId="{5969E70B-5C52-C326-3CAE-5AC9DAF0AAFF}"/>
          </ac:spMkLst>
        </pc:spChg>
        <pc:spChg chg="mod">
          <ac:chgData name="Fatma Alsagaf" userId="ef587b5e-378a-4bb3-aa9f-3c15b98138a4" providerId="ADAL" clId="{90DD5882-6ECA-4849-B2F1-D2CA5394E1EB}" dt="2023-09-01T06:32:21.554" v="34" actId="20577"/>
          <ac:spMkLst>
            <pc:docMk/>
            <pc:sldMk cId="3312873017" sldId="2147377170"/>
            <ac:spMk id="66" creationId="{13035588-3049-8F63-A224-48F1834931A4}"/>
          </ac:spMkLst>
        </pc:spChg>
        <pc:spChg chg="mod">
          <ac:chgData name="Fatma Alsagaf" userId="ef587b5e-378a-4bb3-aa9f-3c15b98138a4" providerId="ADAL" clId="{90DD5882-6ECA-4849-B2F1-D2CA5394E1EB}" dt="2023-09-01T06:32:56.242" v="38" actId="20577"/>
          <ac:spMkLst>
            <pc:docMk/>
            <pc:sldMk cId="3312873017" sldId="2147377170"/>
            <ac:spMk id="70" creationId="{93608FF2-453F-E721-1FD6-C462C34559A7}"/>
          </ac:spMkLst>
        </pc:spChg>
      </pc:sldChg>
      <pc:sldChg chg="modSp mod">
        <pc:chgData name="Fatma Alsagaf" userId="ef587b5e-378a-4bb3-aa9f-3c15b98138a4" providerId="ADAL" clId="{90DD5882-6ECA-4849-B2F1-D2CA5394E1EB}" dt="2023-09-01T06:45:08.089" v="75" actId="20577"/>
        <pc:sldMkLst>
          <pc:docMk/>
          <pc:sldMk cId="692795662" sldId="2147377172"/>
        </pc:sldMkLst>
        <pc:spChg chg="mod">
          <ac:chgData name="Fatma Alsagaf" userId="ef587b5e-378a-4bb3-aa9f-3c15b98138a4" providerId="ADAL" clId="{90DD5882-6ECA-4849-B2F1-D2CA5394E1EB}" dt="2023-09-01T06:43:23.196" v="40" actId="20577"/>
          <ac:spMkLst>
            <pc:docMk/>
            <pc:sldMk cId="692795662" sldId="2147377172"/>
            <ac:spMk id="8" creationId="{0D1C93B0-2AF8-BE02-49A8-816B53846D87}"/>
          </ac:spMkLst>
        </pc:spChg>
        <pc:spChg chg="mod">
          <ac:chgData name="Fatma Alsagaf" userId="ef587b5e-378a-4bb3-aa9f-3c15b98138a4" providerId="ADAL" clId="{90DD5882-6ECA-4849-B2F1-D2CA5394E1EB}" dt="2023-09-01T06:43:34.697" v="44" actId="20577"/>
          <ac:spMkLst>
            <pc:docMk/>
            <pc:sldMk cId="692795662" sldId="2147377172"/>
            <ac:spMk id="32" creationId="{97C6E6FF-513F-D886-7EA9-2414FACC00B0}"/>
          </ac:spMkLst>
        </pc:spChg>
        <pc:spChg chg="mod">
          <ac:chgData name="Fatma Alsagaf" userId="ef587b5e-378a-4bb3-aa9f-3c15b98138a4" providerId="ADAL" clId="{90DD5882-6ECA-4849-B2F1-D2CA5394E1EB}" dt="2023-09-01T06:43:43.687" v="49" actId="207"/>
          <ac:spMkLst>
            <pc:docMk/>
            <pc:sldMk cId="692795662" sldId="2147377172"/>
            <ac:spMk id="38" creationId="{416E7EFB-9196-9CA0-2959-215011FB64C6}"/>
          </ac:spMkLst>
        </pc:spChg>
        <pc:spChg chg="mod">
          <ac:chgData name="Fatma Alsagaf" userId="ef587b5e-378a-4bb3-aa9f-3c15b98138a4" providerId="ADAL" clId="{90DD5882-6ECA-4849-B2F1-D2CA5394E1EB}" dt="2023-09-01T06:43:49.256" v="51" actId="20577"/>
          <ac:spMkLst>
            <pc:docMk/>
            <pc:sldMk cId="692795662" sldId="2147377172"/>
            <ac:spMk id="40" creationId="{AFD58815-51B5-EFD6-06AE-5C85E269E9DA}"/>
          </ac:spMkLst>
        </pc:spChg>
        <pc:spChg chg="mod">
          <ac:chgData name="Fatma Alsagaf" userId="ef587b5e-378a-4bb3-aa9f-3c15b98138a4" providerId="ADAL" clId="{90DD5882-6ECA-4849-B2F1-D2CA5394E1EB}" dt="2023-09-01T06:43:53.666" v="53" actId="20577"/>
          <ac:spMkLst>
            <pc:docMk/>
            <pc:sldMk cId="692795662" sldId="2147377172"/>
            <ac:spMk id="42" creationId="{0D1CE242-03F4-2567-FFCC-739F62EBF6BE}"/>
          </ac:spMkLst>
        </pc:spChg>
        <pc:spChg chg="mod">
          <ac:chgData name="Fatma Alsagaf" userId="ef587b5e-378a-4bb3-aa9f-3c15b98138a4" providerId="ADAL" clId="{90DD5882-6ECA-4849-B2F1-D2CA5394E1EB}" dt="2023-09-01T06:44:03.458" v="55" actId="20577"/>
          <ac:spMkLst>
            <pc:docMk/>
            <pc:sldMk cId="692795662" sldId="2147377172"/>
            <ac:spMk id="46" creationId="{D1DC2AED-8F00-FFF5-33F0-C19A4AF73CD9}"/>
          </ac:spMkLst>
        </pc:spChg>
        <pc:spChg chg="mod">
          <ac:chgData name="Fatma Alsagaf" userId="ef587b5e-378a-4bb3-aa9f-3c15b98138a4" providerId="ADAL" clId="{90DD5882-6ECA-4849-B2F1-D2CA5394E1EB}" dt="2023-09-01T06:44:11.900" v="57" actId="20577"/>
          <ac:spMkLst>
            <pc:docMk/>
            <pc:sldMk cId="692795662" sldId="2147377172"/>
            <ac:spMk id="50" creationId="{A749528C-4E40-2B55-C8A8-0C609EF43022}"/>
          </ac:spMkLst>
        </pc:spChg>
        <pc:spChg chg="mod">
          <ac:chgData name="Fatma Alsagaf" userId="ef587b5e-378a-4bb3-aa9f-3c15b98138a4" providerId="ADAL" clId="{90DD5882-6ECA-4849-B2F1-D2CA5394E1EB}" dt="2023-09-01T06:44:24.696" v="64" actId="207"/>
          <ac:spMkLst>
            <pc:docMk/>
            <pc:sldMk cId="692795662" sldId="2147377172"/>
            <ac:spMk id="52" creationId="{46A60706-6B93-7E5C-2C61-C062A864D945}"/>
          </ac:spMkLst>
        </pc:spChg>
        <pc:spChg chg="mod">
          <ac:chgData name="Fatma Alsagaf" userId="ef587b5e-378a-4bb3-aa9f-3c15b98138a4" providerId="ADAL" clId="{90DD5882-6ECA-4849-B2F1-D2CA5394E1EB}" dt="2023-09-01T06:44:39.483" v="66" actId="20577"/>
          <ac:spMkLst>
            <pc:docMk/>
            <pc:sldMk cId="692795662" sldId="2147377172"/>
            <ac:spMk id="58" creationId="{B533C940-4E38-84C3-85C1-ED6D03113111}"/>
          </ac:spMkLst>
        </pc:spChg>
        <pc:spChg chg="mod">
          <ac:chgData name="Fatma Alsagaf" userId="ef587b5e-378a-4bb3-aa9f-3c15b98138a4" providerId="ADAL" clId="{90DD5882-6ECA-4849-B2F1-D2CA5394E1EB}" dt="2023-09-01T06:44:43.895" v="68" actId="20577"/>
          <ac:spMkLst>
            <pc:docMk/>
            <pc:sldMk cId="692795662" sldId="2147377172"/>
            <ac:spMk id="60" creationId="{90A37BE7-5E39-A9CE-E32D-EF866B1B4FA0}"/>
          </ac:spMkLst>
        </pc:spChg>
        <pc:spChg chg="mod">
          <ac:chgData name="Fatma Alsagaf" userId="ef587b5e-378a-4bb3-aa9f-3c15b98138a4" providerId="ADAL" clId="{90DD5882-6ECA-4849-B2F1-D2CA5394E1EB}" dt="2023-09-01T06:44:57.544" v="71" actId="207"/>
          <ac:spMkLst>
            <pc:docMk/>
            <pc:sldMk cId="692795662" sldId="2147377172"/>
            <ac:spMk id="64" creationId="{5969E70B-5C52-C326-3CAE-5AC9DAF0AAFF}"/>
          </ac:spMkLst>
        </pc:spChg>
        <pc:spChg chg="mod">
          <ac:chgData name="Fatma Alsagaf" userId="ef587b5e-378a-4bb3-aa9f-3c15b98138a4" providerId="ADAL" clId="{90DD5882-6ECA-4849-B2F1-D2CA5394E1EB}" dt="2023-09-01T06:45:03.004" v="73" actId="20577"/>
          <ac:spMkLst>
            <pc:docMk/>
            <pc:sldMk cId="692795662" sldId="2147377172"/>
            <ac:spMk id="66" creationId="{13035588-3049-8F63-A224-48F1834931A4}"/>
          </ac:spMkLst>
        </pc:spChg>
        <pc:spChg chg="mod">
          <ac:chgData name="Fatma Alsagaf" userId="ef587b5e-378a-4bb3-aa9f-3c15b98138a4" providerId="ADAL" clId="{90DD5882-6ECA-4849-B2F1-D2CA5394E1EB}" dt="2023-09-01T06:45:08.089" v="75" actId="20577"/>
          <ac:spMkLst>
            <pc:docMk/>
            <pc:sldMk cId="692795662" sldId="2147377172"/>
            <ac:spMk id="70" creationId="{93608FF2-453F-E721-1FD6-C462C34559A7}"/>
          </ac:spMkLst>
        </pc:spChg>
      </pc:sldChg>
      <pc:sldChg chg="modSp mod">
        <pc:chgData name="Fatma Alsagaf" userId="ef587b5e-378a-4bb3-aa9f-3c15b98138a4" providerId="ADAL" clId="{90DD5882-6ECA-4849-B2F1-D2CA5394E1EB}" dt="2023-09-01T06:53:04.746" v="104" actId="207"/>
        <pc:sldMkLst>
          <pc:docMk/>
          <pc:sldMk cId="326889434" sldId="2147377174"/>
        </pc:sldMkLst>
        <pc:spChg chg="mod">
          <ac:chgData name="Fatma Alsagaf" userId="ef587b5e-378a-4bb3-aa9f-3c15b98138a4" providerId="ADAL" clId="{90DD5882-6ECA-4849-B2F1-D2CA5394E1EB}" dt="2023-09-01T06:51:25.630" v="78" actId="20577"/>
          <ac:spMkLst>
            <pc:docMk/>
            <pc:sldMk cId="326889434" sldId="2147377174"/>
            <ac:spMk id="40" creationId="{AFD58815-51B5-EFD6-06AE-5C85E269E9DA}"/>
          </ac:spMkLst>
        </pc:spChg>
        <pc:spChg chg="mod">
          <ac:chgData name="Fatma Alsagaf" userId="ef587b5e-378a-4bb3-aa9f-3c15b98138a4" providerId="ADAL" clId="{90DD5882-6ECA-4849-B2F1-D2CA5394E1EB}" dt="2023-09-01T06:51:37.516" v="80" actId="20577"/>
          <ac:spMkLst>
            <pc:docMk/>
            <pc:sldMk cId="326889434" sldId="2147377174"/>
            <ac:spMk id="46" creationId="{D1DC2AED-8F00-FFF5-33F0-C19A4AF73CD9}"/>
          </ac:spMkLst>
        </pc:spChg>
        <pc:spChg chg="mod">
          <ac:chgData name="Fatma Alsagaf" userId="ef587b5e-378a-4bb3-aa9f-3c15b98138a4" providerId="ADAL" clId="{90DD5882-6ECA-4849-B2F1-D2CA5394E1EB}" dt="2023-09-01T06:52:02.653" v="84" actId="20577"/>
          <ac:spMkLst>
            <pc:docMk/>
            <pc:sldMk cId="326889434" sldId="2147377174"/>
            <ac:spMk id="50" creationId="{A749528C-4E40-2B55-C8A8-0C609EF43022}"/>
          </ac:spMkLst>
        </pc:spChg>
        <pc:spChg chg="mod">
          <ac:chgData name="Fatma Alsagaf" userId="ef587b5e-378a-4bb3-aa9f-3c15b98138a4" providerId="ADAL" clId="{90DD5882-6ECA-4849-B2F1-D2CA5394E1EB}" dt="2023-09-01T06:52:15.648" v="87" actId="207"/>
          <ac:spMkLst>
            <pc:docMk/>
            <pc:sldMk cId="326889434" sldId="2147377174"/>
            <ac:spMk id="52" creationId="{46A60706-6B93-7E5C-2C61-C062A864D945}"/>
          </ac:spMkLst>
        </pc:spChg>
        <pc:spChg chg="mod">
          <ac:chgData name="Fatma Alsagaf" userId="ef587b5e-378a-4bb3-aa9f-3c15b98138a4" providerId="ADAL" clId="{90DD5882-6ECA-4849-B2F1-D2CA5394E1EB}" dt="2023-09-01T06:52:27.593" v="92" actId="207"/>
          <ac:spMkLst>
            <pc:docMk/>
            <pc:sldMk cId="326889434" sldId="2147377174"/>
            <ac:spMk id="58" creationId="{B533C940-4E38-84C3-85C1-ED6D03113111}"/>
          </ac:spMkLst>
        </pc:spChg>
        <pc:spChg chg="mod">
          <ac:chgData name="Fatma Alsagaf" userId="ef587b5e-378a-4bb3-aa9f-3c15b98138a4" providerId="ADAL" clId="{90DD5882-6ECA-4849-B2F1-D2CA5394E1EB}" dt="2023-09-01T06:52:41.273" v="97" actId="207"/>
          <ac:spMkLst>
            <pc:docMk/>
            <pc:sldMk cId="326889434" sldId="2147377174"/>
            <ac:spMk id="64" creationId="{5969E70B-5C52-C326-3CAE-5AC9DAF0AAFF}"/>
          </ac:spMkLst>
        </pc:spChg>
        <pc:spChg chg="mod">
          <ac:chgData name="Fatma Alsagaf" userId="ef587b5e-378a-4bb3-aa9f-3c15b98138a4" providerId="ADAL" clId="{90DD5882-6ECA-4849-B2F1-D2CA5394E1EB}" dt="2023-09-01T06:52:46.093" v="99" actId="20577"/>
          <ac:spMkLst>
            <pc:docMk/>
            <pc:sldMk cId="326889434" sldId="2147377174"/>
            <ac:spMk id="66" creationId="{13035588-3049-8F63-A224-48F1834931A4}"/>
          </ac:spMkLst>
        </pc:spChg>
        <pc:spChg chg="mod">
          <ac:chgData name="Fatma Alsagaf" userId="ef587b5e-378a-4bb3-aa9f-3c15b98138a4" providerId="ADAL" clId="{90DD5882-6ECA-4849-B2F1-D2CA5394E1EB}" dt="2023-09-01T06:53:04.746" v="104" actId="207"/>
          <ac:spMkLst>
            <pc:docMk/>
            <pc:sldMk cId="326889434" sldId="2147377174"/>
            <ac:spMk id="70" creationId="{93608FF2-453F-E721-1FD6-C462C34559A7}"/>
          </ac:spMkLst>
        </pc:spChg>
      </pc:sldChg>
      <pc:sldChg chg="del">
        <pc:chgData name="Fatma Alsagaf" userId="ef587b5e-378a-4bb3-aa9f-3c15b98138a4" providerId="ADAL" clId="{90DD5882-6ECA-4849-B2F1-D2CA5394E1EB}" dt="2023-09-01T05:16:00.050" v="2" actId="47"/>
        <pc:sldMkLst>
          <pc:docMk/>
          <pc:sldMk cId="2463444985" sldId="2147377175"/>
        </pc:sldMkLst>
      </pc:sldChg>
      <pc:sldChg chg="del">
        <pc:chgData name="Fatma Alsagaf" userId="ef587b5e-378a-4bb3-aa9f-3c15b98138a4" providerId="ADAL" clId="{90DD5882-6ECA-4849-B2F1-D2CA5394E1EB}" dt="2023-09-01T05:16:01.166" v="3" actId="47"/>
        <pc:sldMkLst>
          <pc:docMk/>
          <pc:sldMk cId="2398565188" sldId="2147377181"/>
        </pc:sldMkLst>
      </pc:sldChg>
      <pc:sldChg chg="del">
        <pc:chgData name="Fatma Alsagaf" userId="ef587b5e-378a-4bb3-aa9f-3c15b98138a4" providerId="ADAL" clId="{90DD5882-6ECA-4849-B2F1-D2CA5394E1EB}" dt="2023-09-01T05:16:02.383" v="4" actId="47"/>
        <pc:sldMkLst>
          <pc:docMk/>
          <pc:sldMk cId="1735074405" sldId="2147377182"/>
        </pc:sldMkLst>
      </pc:sldChg>
    </pc:docChg>
  </pc:docChgLst>
  <pc:docChgLst>
    <pc:chgData name="Fatma Alsagaf" userId="ef587b5e-378a-4bb3-aa9f-3c15b98138a4" providerId="ADAL" clId="{C501D7D1-386F-4507-9267-B8938CF1C372}"/>
    <pc:docChg chg="undo redo custSel addSld delSld modSld">
      <pc:chgData name="Fatma Alsagaf" userId="ef587b5e-378a-4bb3-aa9f-3c15b98138a4" providerId="ADAL" clId="{C501D7D1-386F-4507-9267-B8938CF1C372}" dt="2023-10-17T20:42:10.175" v="2087"/>
      <pc:docMkLst>
        <pc:docMk/>
      </pc:docMkLst>
      <pc:sldChg chg="addSp delSp modSp mod">
        <pc:chgData name="Fatma Alsagaf" userId="ef587b5e-378a-4bb3-aa9f-3c15b98138a4" providerId="ADAL" clId="{C501D7D1-386F-4507-9267-B8938CF1C372}" dt="2023-10-10T04:58:53.327" v="73" actId="1076"/>
        <pc:sldMkLst>
          <pc:docMk/>
          <pc:sldMk cId="3394842380" sldId="2147377079"/>
        </pc:sldMkLst>
        <pc:spChg chg="mod ord">
          <ac:chgData name="Fatma Alsagaf" userId="ef587b5e-378a-4bb3-aa9f-3c15b98138a4" providerId="ADAL" clId="{C501D7D1-386F-4507-9267-B8938CF1C372}" dt="2023-10-10T04:57:05.452" v="68" actId="1076"/>
          <ac:spMkLst>
            <pc:docMk/>
            <pc:sldMk cId="3394842380" sldId="2147377079"/>
            <ac:spMk id="8" creationId="{00000000-0000-0000-0000-000000000000}"/>
          </ac:spMkLst>
        </pc:spChg>
        <pc:picChg chg="add del mod">
          <ac:chgData name="Fatma Alsagaf" userId="ef587b5e-378a-4bb3-aa9f-3c15b98138a4" providerId="ADAL" clId="{C501D7D1-386F-4507-9267-B8938CF1C372}" dt="2023-10-10T04:56:27.647" v="59" actId="478"/>
          <ac:picMkLst>
            <pc:docMk/>
            <pc:sldMk cId="3394842380" sldId="2147377079"/>
            <ac:picMk id="2" creationId="{F3157346-DFEB-ADD2-6103-707E5534B43E}"/>
          </ac:picMkLst>
        </pc:picChg>
        <pc:picChg chg="del">
          <ac:chgData name="Fatma Alsagaf" userId="ef587b5e-378a-4bb3-aa9f-3c15b98138a4" providerId="ADAL" clId="{C501D7D1-386F-4507-9267-B8938CF1C372}" dt="2023-10-10T04:53:23.849" v="44" actId="478"/>
          <ac:picMkLst>
            <pc:docMk/>
            <pc:sldMk cId="3394842380" sldId="2147377079"/>
            <ac:picMk id="3" creationId="{F54A26B7-7288-8C5E-67E0-C965E23A3CA6}"/>
          </ac:picMkLst>
        </pc:picChg>
        <pc:picChg chg="add mod">
          <ac:chgData name="Fatma Alsagaf" userId="ef587b5e-378a-4bb3-aa9f-3c15b98138a4" providerId="ADAL" clId="{C501D7D1-386F-4507-9267-B8938CF1C372}" dt="2023-10-10T04:53:28.947" v="47" actId="1076"/>
          <ac:picMkLst>
            <pc:docMk/>
            <pc:sldMk cId="3394842380" sldId="2147377079"/>
            <ac:picMk id="6" creationId="{D2B82C02-53C6-0E1C-749B-4CC0B7D739E9}"/>
          </ac:picMkLst>
        </pc:picChg>
        <pc:picChg chg="add mod">
          <ac:chgData name="Fatma Alsagaf" userId="ef587b5e-378a-4bb3-aa9f-3c15b98138a4" providerId="ADAL" clId="{C501D7D1-386F-4507-9267-B8938CF1C372}" dt="2023-10-10T04:58:53.327" v="73" actId="1076"/>
          <ac:picMkLst>
            <pc:docMk/>
            <pc:sldMk cId="3394842380" sldId="2147377079"/>
            <ac:picMk id="9" creationId="{AF33A80E-F659-0771-8705-9395A463344C}"/>
          </ac:picMkLst>
        </pc:picChg>
      </pc:sldChg>
      <pc:sldChg chg="addSp delSp modSp del mod delAnim">
        <pc:chgData name="Fatma Alsagaf" userId="ef587b5e-378a-4bb3-aa9f-3c15b98138a4" providerId="ADAL" clId="{C501D7D1-386F-4507-9267-B8938CF1C372}" dt="2023-10-10T12:35:30.719" v="1376" actId="47"/>
        <pc:sldMkLst>
          <pc:docMk/>
          <pc:sldMk cId="3312873017" sldId="2147377170"/>
        </pc:sldMkLst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2" creationId="{31D47DEC-32D0-055F-159D-89723D069B0F}"/>
          </ac:spMkLst>
        </pc:spChg>
        <pc:spChg chg="del mod">
          <ac:chgData name="Fatma Alsagaf" userId="ef587b5e-378a-4bb3-aa9f-3c15b98138a4" providerId="ADAL" clId="{C501D7D1-386F-4507-9267-B8938CF1C372}" dt="2023-10-10T07:42:02.058" v="428" actId="478"/>
          <ac:spMkLst>
            <pc:docMk/>
            <pc:sldMk cId="3312873017" sldId="2147377170"/>
            <ac:spMk id="3" creationId="{852407B0-0573-CDC9-50DD-E8096290CE8D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4" creationId="{40D8912F-528C-E451-BD59-5DB51C55553E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5" creationId="{E815D8AF-80FB-EE25-FDB7-03669C230080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6" creationId="{51C58D72-5528-9409-49F7-33D4A001EE1B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7" creationId="{FBAF672E-8016-C63C-2ACB-20883CBC383C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8" creationId="{0D1C93B0-2AF8-BE02-49A8-816B53846D87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9" creationId="{D6A297C6-2859-C723-DEA5-3FAF88AF2A25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0" creationId="{A334F7B6-3892-1652-F529-01A7DFD437CC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1" creationId="{4F8C25E7-672F-B772-483D-1A05F78BA37D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2" creationId="{D4F1594F-4737-AB64-2BE1-C81A448712D0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3" creationId="{763EE237-AD2C-68D7-6BB2-69C0DC33C7E4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4" creationId="{BD51E577-7788-9B27-C73F-E01988954AD1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15" creationId="{0C5F94C7-23F4-F3C1-BA00-E0998F3E4619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16" creationId="{52698CB2-C87E-6C07-2FF2-7F37C316CB93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7" creationId="{6697D6A3-4C4A-7A37-CA0C-9F01C892A847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8" creationId="{E71F138F-E2A0-22C9-A2BE-788DDEAD0631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9" creationId="{D618760A-434D-771E-01BB-E6B60A535509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23" creationId="{A3F5CC15-CBC2-5ACE-9299-BFE72153551A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25" creationId="{DD393EDE-2390-2C42-7A59-8A05D6EB828C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27" creationId="{44A1D655-AB8D-EE65-F54A-397E73207C8E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29" creationId="{03DD6F13-6FF9-CB6F-7B99-5E977A4B2392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30" creationId="{42465BF2-BE73-0CDD-DF5C-BDCBA6C85C56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32" creationId="{97C6E6FF-513F-D886-7EA9-2414FACC00B0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33" creationId="{E964808D-C8F9-EF1A-E09B-DC1B3A4421B8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34" creationId="{D40C378B-0F09-CD05-CA11-12C147E01C07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36" creationId="{5D12C0C8-511E-84B1-9C30-AC655C0B7720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37" creationId="{1DDF700D-4632-020D-D54C-A1E562D376FF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38" creationId="{416E7EFB-9196-9CA0-2959-215011FB64C6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39" creationId="{E1F633C1-E4AC-B4B4-45B2-E664B0A3ED05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40" creationId="{AFD58815-51B5-EFD6-06AE-5C85E269E9DA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41" creationId="{53435164-391A-D99C-7C24-BEF53B44C321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42" creationId="{0D1CE242-03F4-2567-FFCC-739F62EBF6BE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43" creationId="{4122A791-BF73-AA5A-C35A-737FBFD25F87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44" creationId="{A37D133B-B77B-88AE-6668-A00ACB4D6671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45" creationId="{49AB8CEA-FB7A-BAC3-3CBB-B0D4F67CBBC7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46" creationId="{D1DC2AED-8F00-FFF5-33F0-C19A4AF73CD9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47" creationId="{803223DD-92A1-B272-5A97-DEF4A8480218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48" creationId="{23E572EE-E376-E258-6F4A-B8FC3EA24FB0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49" creationId="{9A631C3E-BB7E-E456-5879-D6C23EFB6CC1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50" creationId="{A749528C-4E40-2B55-C8A8-0C609EF43022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51" creationId="{EC6E569B-7055-A499-9D10-85D95801A9FB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52" creationId="{46A60706-6B93-7E5C-2C61-C062A864D945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53" creationId="{3C2E57D4-CB8C-DA35-A99E-1C72DE9CA0F3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54" creationId="{6A68327B-4D44-C501-9235-9911A606C961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55" creationId="{EBBE1CB3-126A-0D5A-40D4-63BA2BC165D7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56" creationId="{A397FC5B-694D-6532-1DF5-27FC229FDE34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57" creationId="{E9F5FB72-A66B-6687-C9E4-EFFBF725342B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58" creationId="{B533C940-4E38-84C3-85C1-ED6D03113111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59" creationId="{46FCA7D5-EF04-F42B-CCD1-5C08D86FF511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60" creationId="{90A37BE7-5E39-A9CE-E32D-EF866B1B4FA0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61" creationId="{629585E0-8131-B7EB-012B-2F3C6B50247E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62" creationId="{90F94BA0-9CF6-CD4A-5DBC-E68FC3A372B6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63" creationId="{2D59C288-092B-C70F-E7D2-83131E8C64CE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64" creationId="{5969E70B-5C52-C326-3CAE-5AC9DAF0AAFF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65" creationId="{EC9CBBDE-7F02-049B-7FAD-DF4E5D559C97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66" creationId="{13035588-3049-8F63-A224-48F1834931A4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67" creationId="{59CFF995-0063-555D-700D-2701CD54A457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68" creationId="{FF193554-EE34-BFEC-26F6-341DB9C303FB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69" creationId="{089AD79F-C338-5C1A-0CEB-45A6E02BC834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70" creationId="{93608FF2-453F-E721-1FD6-C462C34559A7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71" creationId="{4C4E704B-10CF-A30C-FA34-E3A20BEA715E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72" creationId="{28B23C24-4DF7-17F1-0EC2-65474DD22D6B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73" creationId="{E6028A0C-82AB-1CB0-1DAE-2CBBD281589E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74" creationId="{BA804DB7-AAFA-F9EA-7268-35EC3E4481D5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75" creationId="{285969FA-6EF2-59D6-A362-C1434D7AB05D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76" creationId="{9A59E5C4-3320-AF1A-6E41-FE0FAD3F55F5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77" creationId="{E0BD3D54-587E-E59C-D1CD-4E26317F0426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78" creationId="{DEE972AB-5093-6355-E6C5-CF76B468926F}"/>
          </ac:spMkLst>
        </pc:spChg>
        <pc:spChg chg="del">
          <ac:chgData name="Fatma Alsagaf" userId="ef587b5e-378a-4bb3-aa9f-3c15b98138a4" providerId="ADAL" clId="{C501D7D1-386F-4507-9267-B8938CF1C372}" dt="2023-10-10T04:50:53.585" v="2" actId="478"/>
          <ac:spMkLst>
            <pc:docMk/>
            <pc:sldMk cId="3312873017" sldId="2147377170"/>
            <ac:spMk id="79" creationId="{A59E1C83-D474-798D-20BF-E69C413AF5AA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81" creationId="{D9257E9F-678D-7163-56B2-C65512F6D68D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82" creationId="{9F5BE1A2-8C71-A57C-3366-73BA65BCBD89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83" creationId="{5E3B4D62-D02D-CBB4-C6B6-444E457BFE04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84" creationId="{54501248-3DB8-E9E8-8186-E2318F9F7FED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87" creationId="{CAB9DBB4-3405-2C6E-5274-A8C727BB0C02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88" creationId="{1AF9C9CD-5C95-AE63-3A6A-0C0F9078CF30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89" creationId="{C0039A0B-0ECB-A216-86E1-7F9EBFE75601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90" creationId="{85F434FF-7195-53CD-3C70-77818DC36C81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91" creationId="{65D7AC23-E584-9E48-F85F-4A6A0C6D81F1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92" creationId="{0121FFB9-40A6-FB61-D364-550FB0EB5FE1}"/>
          </ac:spMkLst>
        </pc:spChg>
        <pc:spChg chg="del">
          <ac:chgData name="Fatma Alsagaf" userId="ef587b5e-378a-4bb3-aa9f-3c15b98138a4" providerId="ADAL" clId="{C501D7D1-386F-4507-9267-B8938CF1C372}" dt="2023-10-10T04:50:45.688" v="1" actId="478"/>
          <ac:spMkLst>
            <pc:docMk/>
            <pc:sldMk cId="3312873017" sldId="2147377170"/>
            <ac:spMk id="94" creationId="{E4355540-1362-9A9A-E9A3-6E452F839319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02" creationId="{C84D1EBC-BFB8-ECB8-9F9F-09FC6CDD69C9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03" creationId="{54B62D5E-34D2-7378-1A5C-CE82801AC181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04" creationId="{CEB9067D-6D06-7504-C57F-BAB1CCBDDDB1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06" creationId="{3A510636-CA17-BB56-9980-61FF834E02FE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07" creationId="{D3ED5AA6-933C-DA6F-DDAC-C819CC5F1285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09" creationId="{2A24329F-3782-65ED-A0F8-1ECF1E407D17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10" creationId="{DCA57755-C7FC-3E1F-F6DF-BBAFB5286D75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12" creationId="{19CEFCD1-8C5A-78F5-70B1-216768843DE1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13" creationId="{3F62D073-1FBA-BDF5-DFC7-29315A78FC35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15" creationId="{1B5A9542-5691-1B6C-172E-98AB7D451953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16" creationId="{2BEE1F05-F23A-79DE-349E-25328948A0FC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17" creationId="{0739DE5E-123B-A982-77CF-C4BBD32DFD75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18" creationId="{CEFE8CAA-3F91-78AC-9B60-C8AE8DC132D8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19" creationId="{2CB88F84-5502-F9BF-3F3A-42A971CA73B2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21" creationId="{139E591D-BA5D-4AF9-23A5-8681022ADDB3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22" creationId="{C3D585C9-AA05-892C-D7D0-3AFD07871C6C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24" creationId="{5D52ECE4-5568-CF6B-0A4B-3DB55E45E32F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25" creationId="{A47D64EB-14F4-B2C0-3733-BA9A6195B63E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27" creationId="{EC3FB9C6-56E3-4E60-9AB8-9B6E8530265C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28" creationId="{F863170B-EE0B-0383-7EE0-22CCD464A1A2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30" creationId="{EF8D4427-13BE-3EB3-44F0-7A5D3286ED5E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31" creationId="{C07C21BA-4C5B-2BCD-2D2D-2A5DCAA8CC24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32" creationId="{936A1F74-55B7-AD63-E0F0-1755B7ACD521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33" creationId="{5DF21F12-D6F4-CF48-58D1-9C03A0738024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34" creationId="{D1D8E691-7628-36E7-954F-B69FCEEF5597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36" creationId="{AEDEE9B6-57F8-160F-C2F5-585C7CB017F6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37" creationId="{53DEF948-77B2-BDA3-90B1-EDBF972E28C0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39" creationId="{C890529F-3D25-CA39-AC6F-4BCADD8E9061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40" creationId="{97CB5E73-7E87-BFCF-BCF3-C86271E37932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42" creationId="{9E15C0A9-B5C1-0274-E969-D4D86562B48A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43" creationId="{CD75088E-BC31-D3A5-3720-DAB3DFAC33A0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45" creationId="{C5043DF2-CAA1-C3B6-DCCB-8253625748FB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46" creationId="{654C749E-1D43-23BE-4DE3-4A64C244F15A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48" creationId="{248FE9D0-651F-0D41-B637-3E25A1A61C4C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49" creationId="{163BA92A-372E-F63E-6BAE-60916614CB82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50" creationId="{D10A9E38-FAD4-A01A-7D1E-B5C482A18086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51" creationId="{D63EFB18-0E73-4D31-219A-77017D081F33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52" creationId="{0EA2E4B1-E64C-D1F0-EC4F-2C1998DD9072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53" creationId="{D8A596B7-442D-77F6-3061-630099878524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55" creationId="{B862BB96-C59C-FAFB-6A8C-1E9AA3952848}"/>
          </ac:spMkLst>
        </pc:spChg>
        <pc:spChg chg="mod">
          <ac:chgData name="Fatma Alsagaf" userId="ef587b5e-378a-4bb3-aa9f-3c15b98138a4" providerId="ADAL" clId="{C501D7D1-386F-4507-9267-B8938CF1C372}" dt="2023-10-10T05:12:55.877" v="127"/>
          <ac:spMkLst>
            <pc:docMk/>
            <pc:sldMk cId="3312873017" sldId="2147377170"/>
            <ac:spMk id="156" creationId="{50D7252F-14CD-0574-3BA9-4DE8B48ACCCD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57" creationId="{8C44F9DB-4656-5D67-4B96-9547050FE6DA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58" creationId="{DBF8B32C-B046-8B51-4D72-A480825AF94E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59" creationId="{79C871CB-8D78-922C-4D82-7F4D7BCB7CE2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61" creationId="{DE24EE4F-E1D2-EEC7-3B0A-C213694619DD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62" creationId="{985259D8-7BA9-BC4E-7550-5AC437492A4A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63" creationId="{0F2A1B35-9EC3-3E74-71BC-3F93937719AE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65" creationId="{B3003C09-91C6-905D-B72A-67CDC836953B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66" creationId="{1ADB4CB5-84FF-15EE-CA8A-B6FB55D379E9}"/>
          </ac:spMkLst>
        </pc:spChg>
        <pc:spChg chg="add del mod">
          <ac:chgData name="Fatma Alsagaf" userId="ef587b5e-378a-4bb3-aa9f-3c15b98138a4" providerId="ADAL" clId="{C501D7D1-386F-4507-9267-B8938CF1C372}" dt="2023-10-10T05:14:08.707" v="134"/>
          <ac:spMkLst>
            <pc:docMk/>
            <pc:sldMk cId="3312873017" sldId="2147377170"/>
            <ac:spMk id="167" creationId="{E872B86A-DC60-24BC-BEFD-733D7D9EB47F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72" creationId="{3E94D0E6-7B49-BBF4-A5EC-568815C8A13B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73" creationId="{4436A6D0-C544-21E3-EFC2-77508B9753A3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74" creationId="{BC5C9068-FFA4-4B71-5232-233A14D9388D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75" creationId="{D350CA48-28A9-5D67-0C2A-0FA0F1C3621B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76" creationId="{69CA5C9F-6260-B9BB-C347-802EB4C5C463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77" creationId="{73E32165-B327-949B-B5CE-6AA3BF55C371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78" creationId="{88B58880-B683-BB6E-79F8-A67850546F5E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79" creationId="{98C3A2C0-A685-4C0C-4736-102D185A6135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80" creationId="{80F8AC97-4E80-7251-6328-23043F637B03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81" creationId="{20884BFB-1630-1DE7-5045-A7D8199E705B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82" creationId="{E68389DA-42EA-D98F-B11E-876F04A092E5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83" creationId="{4AC23454-7D47-24B0-4A42-BCFEE1F5BA1F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84" creationId="{F51A9843-DDE2-FB0E-FD7E-6BE22AAD0A0B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85" creationId="{3DE8A6CC-D23D-D7D0-4EF7-252DDD166E7A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89" creationId="{DC425629-D215-D58F-2A5F-52230F415D69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91" creationId="{D9CDB953-8B47-053F-FE3F-1673F42B17C2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93" creationId="{D2069B2E-BFA0-FCFD-B560-CFF8640DA214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95" creationId="{39F19F0C-965D-7C0C-5610-E74E6F9B83AF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97" creationId="{2AF87A11-C1B7-6922-AB96-F847D1F82C0B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198" creationId="{6AB907CD-6BE0-F94C-D736-E2A0AFED67BD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00" creationId="{9A896D5F-86FB-0749-16A7-66C895477C37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01" creationId="{16CC952D-4319-761F-D8E2-40C72036460C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02" creationId="{AC1F59EA-214A-1B3A-C067-362E06148635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04" creationId="{973C5EA1-2DF7-DF35-3E60-223D060AC6CB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05" creationId="{00C568B7-8821-2E62-7C48-5E59D732D097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06" creationId="{D86E5F0D-4BAF-E865-D8AB-EB25DBD8AF3E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07" creationId="{5092EB5D-958B-C248-8ACD-344510116A80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10" creationId="{D8A21DBC-013A-EF42-FFAF-6283EEAD970E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11" creationId="{2920C3E9-2476-37C2-5490-A59914A18924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12" creationId="{A92F0C38-ED7B-3834-9C05-6FC9881C6FD8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13" creationId="{BFE6B574-3CE5-3A65-362E-89F62323177C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14" creationId="{2CC6B271-F825-D2B7-6217-22CCF7832911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15" creationId="{D3811F01-4B1A-1233-6F5C-9CA14DDB756F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16" creationId="{2166F4EF-9A53-916C-C81E-C182863DB1C6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17" creationId="{86B6CB3B-D479-CFB0-C36E-5F0687927FF7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18" creationId="{C94F1974-F58C-3928-AC83-7A10C63CF3F1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20" creationId="{AA4AE0EB-C055-BB3A-B3E6-0910CE78E6F2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21" creationId="{C7A123B5-757C-DDCF-CA53-904DEB693FD1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23" creationId="{AB301795-5C15-799A-FBF1-160AC8B33DFE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24" creationId="{60F0642F-ED56-042C-52B0-F0DFBA91C019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26" creationId="{219C897A-E04B-52F1-B69C-DFAAA3B26072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27" creationId="{11F36D2D-2B43-3265-CB01-9CBE430C0AC8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29" creationId="{C34AB290-097A-8C40-4CA9-B5470C4FE230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30" creationId="{56085104-4CC8-4328-EA21-B41BA087FEF1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31" creationId="{1090B724-31EE-2D68-7111-FE0F111E8B37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32" creationId="{46637A05-3F4F-F86D-FDDA-F3F73969D215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33" creationId="{B6695571-B61E-44A5-1554-BB0FE20ED4DC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35" creationId="{817873E8-382E-D660-B75B-4C02B21A3751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36" creationId="{2A951142-4D99-B406-6C24-00BA52C973CA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38" creationId="{6D921949-51DB-16ED-4000-9683A3CF753F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39" creationId="{1848AA04-14A9-7B14-D517-D54863D0DC96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41" creationId="{A155A645-40C0-0486-09A8-039F6D2EA3A9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42" creationId="{E4CF562A-18AB-B236-9039-6456A1F71003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44" creationId="{98001D1D-750F-874B-34CB-5B2663B8D419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45" creationId="{58C4002F-A1BF-9CF6-A64F-7F28342C9143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46" creationId="{37ED7296-121C-EBA9-6F11-2EB43DFF855D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47" creationId="{17E1FD46-8414-EF52-19F4-3B941B9B3682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48" creationId="{BB11F6D1-A8A4-E1C2-35D8-CA1E96986A84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50" creationId="{B5E230AC-19AD-942F-6C32-7F650593311A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51" creationId="{C47E19CA-A075-2518-A9B1-EB4A3579594D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53" creationId="{89379D8F-20FE-6EF9-71B1-BFE2EEE3A76D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54" creationId="{AF8CA848-4F6B-54E1-1479-ECFE241AE00C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56" creationId="{9C596541-30A5-5477-E3B1-C46A9E114A43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57" creationId="{0D8D1237-B7B4-9C55-B0D9-2EC70895F03F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59" creationId="{3E7DEE79-2266-4330-0948-88131A6F562E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60" creationId="{658530EB-BF97-A137-58DB-E34D63618FC6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62" creationId="{2DC0B068-70BA-B926-F2BC-890D38236DC8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63" creationId="{A83C4776-9E63-9598-37C5-AFAE6C5009AD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64" creationId="{BDADD5E1-F2EA-51EF-517F-E6CE9F4F5252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65" creationId="{42A0EAFC-D5CC-EC1E-54ED-8C75194D6808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66" creationId="{A59E83F1-5618-8DEE-8ABC-21C2E6FDFF86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67" creationId="{9C659DEE-6542-94C2-CD0F-609A714E4BB5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69" creationId="{707EDCB7-6C59-D3CD-32CE-C4B03A3B4C31}"/>
          </ac:spMkLst>
        </pc:spChg>
        <pc:spChg chg="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70" creationId="{DE20D2D8-1BDD-19C4-F20C-2AF0D66462B2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71" creationId="{E0C2B151-08A7-5F3B-30EE-3CC5425BCA41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72" creationId="{41E99207-3FF2-1D87-A650-7598CD5B1A91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73" creationId="{ABAE6A65-B170-66F5-DF1A-ED3790629C43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75" creationId="{B9EFA10B-BB93-8607-E734-6DCB9DEB1A4C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76" creationId="{046D1CF5-521D-2A1D-2219-CF18D90261AB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77" creationId="{CDFA2010-372C-B910-D5D0-902F7A81A234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79" creationId="{15C47174-42E0-BDEF-C3FD-E0BF4F9EC420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80" creationId="{9BAC8BB5-7B61-3BE6-C474-7C7EBE79890F}"/>
          </ac:spMkLst>
        </pc:spChg>
        <pc:spChg chg="add mod">
          <ac:chgData name="Fatma Alsagaf" userId="ef587b5e-378a-4bb3-aa9f-3c15b98138a4" providerId="ADAL" clId="{C501D7D1-386F-4507-9267-B8938CF1C372}" dt="2023-10-10T05:14:08.770" v="135"/>
          <ac:spMkLst>
            <pc:docMk/>
            <pc:sldMk cId="3312873017" sldId="2147377170"/>
            <ac:spMk id="281" creationId="{B770D3E1-7DC5-38E2-4659-58BDE8C9F615}"/>
          </ac:spMkLst>
        </pc:s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35" creationId="{A1EC94C3-571D-C00A-6A6B-DCA1501BC779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80" creationId="{5B4BB86A-0FEF-82C8-B1FD-A1B655137037}"/>
          </ac:grpSpMkLst>
        </pc:grpChg>
        <pc:grpChg chg="del">
          <ac:chgData name="Fatma Alsagaf" userId="ef587b5e-378a-4bb3-aa9f-3c15b98138a4" providerId="ADAL" clId="{C501D7D1-386F-4507-9267-B8938CF1C372}" dt="2023-10-10T04:50:43.775" v="0" actId="478"/>
          <ac:grpSpMkLst>
            <pc:docMk/>
            <pc:sldMk cId="3312873017" sldId="2147377170"/>
            <ac:grpSpMk id="95" creationId="{4780DFDD-FFB4-B342-88C0-7B9A629DA29F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05" creationId="{06BFC147-63DF-23A2-009C-8F25370BF89F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08" creationId="{B7E24255-D99E-4F02-B702-8D625CEA067A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11" creationId="{B3D086DA-4001-817C-1197-11336E042FD2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14" creationId="{DBF266FC-3B71-37FE-9D31-E9FD4BE8A807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20" creationId="{5E72ACDB-FFBF-1750-5BCB-D6D09C170854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23" creationId="{140EA665-8C33-BDAE-1930-E4A28F415E3F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26" creationId="{BB98F137-80DB-664F-BD3D-109AF55AA0A0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29" creationId="{3786A044-40F6-3105-3B93-1731D22ABC7D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35" creationId="{3AFF345F-5FA1-6CAE-A9BB-9C5CEFF7A34B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38" creationId="{DF43AD89-7C1D-512D-68B4-A78DDBBBAAE7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41" creationId="{04A62B6C-ECE4-B141-0D29-69A44DD0C53E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44" creationId="{E6B36D75-5400-4FD5-CA97-A86F32575953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47" creationId="{0A1EADE2-6C3B-75B2-FB73-9D618DA45823}"/>
          </ac:grpSpMkLst>
        </pc:grpChg>
        <pc:grpChg chg="add del mod">
          <ac:chgData name="Fatma Alsagaf" userId="ef587b5e-378a-4bb3-aa9f-3c15b98138a4" providerId="ADAL" clId="{C501D7D1-386F-4507-9267-B8938CF1C372}" dt="2023-10-10T05:14:08.707" v="134"/>
          <ac:grpSpMkLst>
            <pc:docMk/>
            <pc:sldMk cId="3312873017" sldId="2147377170"/>
            <ac:grpSpMk id="154" creationId="{85796BEF-1794-48A1-130F-980A4D7704FE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199" creationId="{0EED1BBD-458F-FACB-5974-B52170662AA1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03" creationId="{183644DA-660A-5381-DBBC-27E0DDA396DB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19" creationId="{AAFDDD9A-A502-24AB-5BCA-7110BC55BA0D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22" creationId="{FAD2354C-8000-5D8A-3F6D-5AD98DC48D06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25" creationId="{B9121FFC-FE65-5EC4-8B56-A8628F2F40A1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28" creationId="{7067E2B6-2BCA-5F96-41F6-B0AF6ED52C47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34" creationId="{DBBCDC24-94D9-E03A-DE34-BC691DE817C3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37" creationId="{CD03674C-E925-D8AB-FC52-C2D92A522BC5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40" creationId="{D1898567-BDED-F9CC-B83C-F8B6E09A672D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43" creationId="{31A6CDF7-D6B5-6FE0-C778-1633F5B6B033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49" creationId="{355FE12C-7E47-BB57-C26E-2AFD4932D35D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52" creationId="{E4356580-632E-4632-8CE9-80B650883827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55" creationId="{7AC448EE-FF4A-6DF3-C8C4-9E204FA1A5DF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58" creationId="{28E055CF-15A8-605B-5483-2C461E2927D1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61" creationId="{3E4419CE-11D7-EC1A-646E-2C4DB9F45190}"/>
          </ac:grpSpMkLst>
        </pc:grpChg>
        <pc:grpChg chg="add mod">
          <ac:chgData name="Fatma Alsagaf" userId="ef587b5e-378a-4bb3-aa9f-3c15b98138a4" providerId="ADAL" clId="{C501D7D1-386F-4507-9267-B8938CF1C372}" dt="2023-10-10T05:14:08.770" v="135"/>
          <ac:grpSpMkLst>
            <pc:docMk/>
            <pc:sldMk cId="3312873017" sldId="2147377170"/>
            <ac:grpSpMk id="268" creationId="{ED31313B-F109-62DC-28A9-048A349EF822}"/>
          </ac:grpSpMkLst>
        </pc:grpChg>
        <pc:graphicFrameChg chg="add del mod">
          <ac:chgData name="Fatma Alsagaf" userId="ef587b5e-378a-4bb3-aa9f-3c15b98138a4" providerId="ADAL" clId="{C501D7D1-386F-4507-9267-B8938CF1C372}" dt="2023-10-10T05:14:08.707" v="134"/>
          <ac:graphicFrameMkLst>
            <pc:docMk/>
            <pc:sldMk cId="3312873017" sldId="2147377170"/>
            <ac:graphicFrameMk id="86" creationId="{7C193725-A992-BD4B-713E-DA4388128026}"/>
          </ac:graphicFrameMkLst>
        </pc:graphicFrameChg>
        <pc:graphicFrameChg chg="add mod">
          <ac:chgData name="Fatma Alsagaf" userId="ef587b5e-378a-4bb3-aa9f-3c15b98138a4" providerId="ADAL" clId="{C501D7D1-386F-4507-9267-B8938CF1C372}" dt="2023-10-10T05:14:08.770" v="135"/>
          <ac:graphicFrameMkLst>
            <pc:docMk/>
            <pc:sldMk cId="3312873017" sldId="2147377170"/>
            <ac:graphicFrameMk id="209" creationId="{9DA7EAE3-0D46-5303-3B9F-2F3A8647645E}"/>
          </ac:graphicFrameMkLst>
        </pc:graphicFrameChg>
        <pc:picChg chg="add del mod">
          <ac:chgData name="Fatma Alsagaf" userId="ef587b5e-378a-4bb3-aa9f-3c15b98138a4" providerId="ADAL" clId="{C501D7D1-386F-4507-9267-B8938CF1C372}" dt="2023-10-10T05:14:08.707" v="134"/>
          <ac:picMkLst>
            <pc:docMk/>
            <pc:sldMk cId="3312873017" sldId="2147377170"/>
            <ac:picMk id="168" creationId="{67DBAADA-38DC-5135-7630-5F9C820E5B2A}"/>
          </ac:picMkLst>
        </pc:picChg>
        <pc:picChg chg="add del mod">
          <ac:chgData name="Fatma Alsagaf" userId="ef587b5e-378a-4bb3-aa9f-3c15b98138a4" providerId="ADAL" clId="{C501D7D1-386F-4507-9267-B8938CF1C372}" dt="2023-10-10T05:14:08.707" v="134"/>
          <ac:picMkLst>
            <pc:docMk/>
            <pc:sldMk cId="3312873017" sldId="2147377170"/>
            <ac:picMk id="169" creationId="{FC9496A9-E37E-13EF-3641-8915BD160885}"/>
          </ac:picMkLst>
        </pc:picChg>
        <pc:picChg chg="add del mod">
          <ac:chgData name="Fatma Alsagaf" userId="ef587b5e-378a-4bb3-aa9f-3c15b98138a4" providerId="ADAL" clId="{C501D7D1-386F-4507-9267-B8938CF1C372}" dt="2023-10-10T05:14:08.707" v="134"/>
          <ac:picMkLst>
            <pc:docMk/>
            <pc:sldMk cId="3312873017" sldId="2147377170"/>
            <ac:picMk id="170" creationId="{77D65DFF-E791-5D7B-531A-72FCEB737C5E}"/>
          </ac:picMkLst>
        </pc:picChg>
        <pc:picChg chg="add del mod">
          <ac:chgData name="Fatma Alsagaf" userId="ef587b5e-378a-4bb3-aa9f-3c15b98138a4" providerId="ADAL" clId="{C501D7D1-386F-4507-9267-B8938CF1C372}" dt="2023-10-10T05:14:08.707" v="134"/>
          <ac:picMkLst>
            <pc:docMk/>
            <pc:sldMk cId="3312873017" sldId="2147377170"/>
            <ac:picMk id="171" creationId="{CB1F602E-ED35-47E3-41BF-B0B52023BC73}"/>
          </ac:picMkLst>
        </pc:picChg>
        <pc:picChg chg="add mod">
          <ac:chgData name="Fatma Alsagaf" userId="ef587b5e-378a-4bb3-aa9f-3c15b98138a4" providerId="ADAL" clId="{C501D7D1-386F-4507-9267-B8938CF1C372}" dt="2023-10-10T05:14:08.770" v="135"/>
          <ac:picMkLst>
            <pc:docMk/>
            <pc:sldMk cId="3312873017" sldId="2147377170"/>
            <ac:picMk id="282" creationId="{D1640643-6A34-28EC-BF3C-D95257A60634}"/>
          </ac:picMkLst>
        </pc:picChg>
        <pc:picChg chg="add mod">
          <ac:chgData name="Fatma Alsagaf" userId="ef587b5e-378a-4bb3-aa9f-3c15b98138a4" providerId="ADAL" clId="{C501D7D1-386F-4507-9267-B8938CF1C372}" dt="2023-10-10T05:14:08.770" v="135"/>
          <ac:picMkLst>
            <pc:docMk/>
            <pc:sldMk cId="3312873017" sldId="2147377170"/>
            <ac:picMk id="283" creationId="{1B48BF0F-B620-078A-8451-5619406635A2}"/>
          </ac:picMkLst>
        </pc:picChg>
        <pc:picChg chg="add mod">
          <ac:chgData name="Fatma Alsagaf" userId="ef587b5e-378a-4bb3-aa9f-3c15b98138a4" providerId="ADAL" clId="{C501D7D1-386F-4507-9267-B8938CF1C372}" dt="2023-10-10T05:14:08.770" v="135"/>
          <ac:picMkLst>
            <pc:docMk/>
            <pc:sldMk cId="3312873017" sldId="2147377170"/>
            <ac:picMk id="284" creationId="{F213280A-B442-64D9-E304-DDD39F64D851}"/>
          </ac:picMkLst>
        </pc:picChg>
        <pc:picChg chg="add mod">
          <ac:chgData name="Fatma Alsagaf" userId="ef587b5e-378a-4bb3-aa9f-3c15b98138a4" providerId="ADAL" clId="{C501D7D1-386F-4507-9267-B8938CF1C372}" dt="2023-10-10T05:14:08.770" v="135"/>
          <ac:picMkLst>
            <pc:docMk/>
            <pc:sldMk cId="3312873017" sldId="2147377170"/>
            <ac:picMk id="285" creationId="{580ACE84-C241-48FF-8AD4-9DE56D937388}"/>
          </ac:picMkLst>
        </pc:picChg>
        <pc:cxnChg chg="add del mod">
          <ac:chgData name="Fatma Alsagaf" userId="ef587b5e-378a-4bb3-aa9f-3c15b98138a4" providerId="ADAL" clId="{C501D7D1-386F-4507-9267-B8938CF1C372}" dt="2023-10-10T05:14:08.707" v="134"/>
          <ac:cxnSpMkLst>
            <pc:docMk/>
            <pc:sldMk cId="3312873017" sldId="2147377170"/>
            <ac:cxnSpMk id="20" creationId="{F3036D87-4C51-315B-995C-0A23BB7AE6B8}"/>
          </ac:cxnSpMkLst>
        </pc:cxnChg>
        <pc:cxnChg chg="add del mod">
          <ac:chgData name="Fatma Alsagaf" userId="ef587b5e-378a-4bb3-aa9f-3c15b98138a4" providerId="ADAL" clId="{C501D7D1-386F-4507-9267-B8938CF1C372}" dt="2023-10-10T05:14:08.707" v="134"/>
          <ac:cxnSpMkLst>
            <pc:docMk/>
            <pc:sldMk cId="3312873017" sldId="2147377170"/>
            <ac:cxnSpMk id="21" creationId="{F01461F7-8A74-E6DD-EB7A-CE3D3F33EA44}"/>
          </ac:cxnSpMkLst>
        </pc:cxnChg>
        <pc:cxnChg chg="add del mod">
          <ac:chgData name="Fatma Alsagaf" userId="ef587b5e-378a-4bb3-aa9f-3c15b98138a4" providerId="ADAL" clId="{C501D7D1-386F-4507-9267-B8938CF1C372}" dt="2023-10-10T05:14:08.707" v="134"/>
          <ac:cxnSpMkLst>
            <pc:docMk/>
            <pc:sldMk cId="3312873017" sldId="2147377170"/>
            <ac:cxnSpMk id="22" creationId="{06F0D01E-55FB-9FD6-9AAD-44B6C07A9749}"/>
          </ac:cxnSpMkLst>
        </pc:cxnChg>
        <pc:cxnChg chg="add del mod">
          <ac:chgData name="Fatma Alsagaf" userId="ef587b5e-378a-4bb3-aa9f-3c15b98138a4" providerId="ADAL" clId="{C501D7D1-386F-4507-9267-B8938CF1C372}" dt="2023-10-10T05:14:08.707" v="134"/>
          <ac:cxnSpMkLst>
            <pc:docMk/>
            <pc:sldMk cId="3312873017" sldId="2147377170"/>
            <ac:cxnSpMk id="24" creationId="{2986CB5D-88C6-299F-E662-0CDE7D7F75AA}"/>
          </ac:cxnSpMkLst>
        </pc:cxnChg>
        <pc:cxnChg chg="add del mod">
          <ac:chgData name="Fatma Alsagaf" userId="ef587b5e-378a-4bb3-aa9f-3c15b98138a4" providerId="ADAL" clId="{C501D7D1-386F-4507-9267-B8938CF1C372}" dt="2023-10-10T05:14:08.707" v="134"/>
          <ac:cxnSpMkLst>
            <pc:docMk/>
            <pc:sldMk cId="3312873017" sldId="2147377170"/>
            <ac:cxnSpMk id="26" creationId="{7AAE58DB-F9F4-8BFC-8E02-BC58E7566937}"/>
          </ac:cxnSpMkLst>
        </pc:cxnChg>
        <pc:cxnChg chg="add del mod">
          <ac:chgData name="Fatma Alsagaf" userId="ef587b5e-378a-4bb3-aa9f-3c15b98138a4" providerId="ADAL" clId="{C501D7D1-386F-4507-9267-B8938CF1C372}" dt="2023-10-10T05:14:08.707" v="134"/>
          <ac:cxnSpMkLst>
            <pc:docMk/>
            <pc:sldMk cId="3312873017" sldId="2147377170"/>
            <ac:cxnSpMk id="28" creationId="{AFADC51B-F9D6-1C44-C94C-EE8FAD178F87}"/>
          </ac:cxnSpMkLst>
        </pc:cxnChg>
        <pc:cxnChg chg="add del mod">
          <ac:chgData name="Fatma Alsagaf" userId="ef587b5e-378a-4bb3-aa9f-3c15b98138a4" providerId="ADAL" clId="{C501D7D1-386F-4507-9267-B8938CF1C372}" dt="2023-10-10T05:14:08.707" v="134"/>
          <ac:cxnSpMkLst>
            <pc:docMk/>
            <pc:sldMk cId="3312873017" sldId="2147377170"/>
            <ac:cxnSpMk id="31" creationId="{B5C0E314-ABC8-C5DF-4435-2BC0CFFF79F4}"/>
          </ac:cxnSpMkLst>
        </pc:cxnChg>
        <pc:cxnChg chg="add del mod">
          <ac:chgData name="Fatma Alsagaf" userId="ef587b5e-378a-4bb3-aa9f-3c15b98138a4" providerId="ADAL" clId="{C501D7D1-386F-4507-9267-B8938CF1C372}" dt="2023-10-10T05:14:08.707" v="134"/>
          <ac:cxnSpMkLst>
            <pc:docMk/>
            <pc:sldMk cId="3312873017" sldId="2147377170"/>
            <ac:cxnSpMk id="85" creationId="{27AA936B-5562-33ED-DE82-115FE139BD82}"/>
          </ac:cxnSpMkLst>
        </pc:cxnChg>
        <pc:cxnChg chg="del">
          <ac:chgData name="Fatma Alsagaf" userId="ef587b5e-378a-4bb3-aa9f-3c15b98138a4" providerId="ADAL" clId="{C501D7D1-386F-4507-9267-B8938CF1C372}" dt="2023-10-10T04:50:53.585" v="2" actId="478"/>
          <ac:cxnSpMkLst>
            <pc:docMk/>
            <pc:sldMk cId="3312873017" sldId="2147377170"/>
            <ac:cxnSpMk id="93" creationId="{A852DD7C-FDD4-2892-80B8-A05B0D9DEC2F}"/>
          </ac:cxnSpMkLst>
        </pc:cxnChg>
        <pc:cxnChg chg="add del mod">
          <ac:chgData name="Fatma Alsagaf" userId="ef587b5e-378a-4bb3-aa9f-3c15b98138a4" providerId="ADAL" clId="{C501D7D1-386F-4507-9267-B8938CF1C372}" dt="2023-10-10T05:14:08.707" v="134"/>
          <ac:cxnSpMkLst>
            <pc:docMk/>
            <pc:sldMk cId="3312873017" sldId="2147377170"/>
            <ac:cxnSpMk id="160" creationId="{6BA5D304-7B0B-4548-AD4A-7C5D838AA70C}"/>
          </ac:cxnSpMkLst>
        </pc:cxnChg>
        <pc:cxnChg chg="add del mod">
          <ac:chgData name="Fatma Alsagaf" userId="ef587b5e-378a-4bb3-aa9f-3c15b98138a4" providerId="ADAL" clId="{C501D7D1-386F-4507-9267-B8938CF1C372}" dt="2023-10-10T05:14:08.707" v="134"/>
          <ac:cxnSpMkLst>
            <pc:docMk/>
            <pc:sldMk cId="3312873017" sldId="2147377170"/>
            <ac:cxnSpMk id="164" creationId="{13E60182-F76C-EE4C-CC53-1B74807D482C}"/>
          </ac:cxnSpMkLst>
        </pc:cxnChg>
        <pc:cxnChg chg="add mod">
          <ac:chgData name="Fatma Alsagaf" userId="ef587b5e-378a-4bb3-aa9f-3c15b98138a4" providerId="ADAL" clId="{C501D7D1-386F-4507-9267-B8938CF1C372}" dt="2023-10-10T05:14:08.770" v="135"/>
          <ac:cxnSpMkLst>
            <pc:docMk/>
            <pc:sldMk cId="3312873017" sldId="2147377170"/>
            <ac:cxnSpMk id="186" creationId="{04482A55-B0E2-C10B-9749-9DCD8C735AFE}"/>
          </ac:cxnSpMkLst>
        </pc:cxnChg>
        <pc:cxnChg chg="add mod">
          <ac:chgData name="Fatma Alsagaf" userId="ef587b5e-378a-4bb3-aa9f-3c15b98138a4" providerId="ADAL" clId="{C501D7D1-386F-4507-9267-B8938CF1C372}" dt="2023-10-10T05:14:08.770" v="135"/>
          <ac:cxnSpMkLst>
            <pc:docMk/>
            <pc:sldMk cId="3312873017" sldId="2147377170"/>
            <ac:cxnSpMk id="187" creationId="{0603A1C3-6539-A1FD-89C7-58112A2661E6}"/>
          </ac:cxnSpMkLst>
        </pc:cxnChg>
        <pc:cxnChg chg="add mod">
          <ac:chgData name="Fatma Alsagaf" userId="ef587b5e-378a-4bb3-aa9f-3c15b98138a4" providerId="ADAL" clId="{C501D7D1-386F-4507-9267-B8938CF1C372}" dt="2023-10-10T05:14:08.770" v="135"/>
          <ac:cxnSpMkLst>
            <pc:docMk/>
            <pc:sldMk cId="3312873017" sldId="2147377170"/>
            <ac:cxnSpMk id="188" creationId="{4280786B-29E6-881D-4F70-579DB3B3B684}"/>
          </ac:cxnSpMkLst>
        </pc:cxnChg>
        <pc:cxnChg chg="add mod">
          <ac:chgData name="Fatma Alsagaf" userId="ef587b5e-378a-4bb3-aa9f-3c15b98138a4" providerId="ADAL" clId="{C501D7D1-386F-4507-9267-B8938CF1C372}" dt="2023-10-10T05:14:08.770" v="135"/>
          <ac:cxnSpMkLst>
            <pc:docMk/>
            <pc:sldMk cId="3312873017" sldId="2147377170"/>
            <ac:cxnSpMk id="190" creationId="{4E64CED4-849E-234C-690B-F7251B41474C}"/>
          </ac:cxnSpMkLst>
        </pc:cxnChg>
        <pc:cxnChg chg="add mod">
          <ac:chgData name="Fatma Alsagaf" userId="ef587b5e-378a-4bb3-aa9f-3c15b98138a4" providerId="ADAL" clId="{C501D7D1-386F-4507-9267-B8938CF1C372}" dt="2023-10-10T05:14:08.770" v="135"/>
          <ac:cxnSpMkLst>
            <pc:docMk/>
            <pc:sldMk cId="3312873017" sldId="2147377170"/>
            <ac:cxnSpMk id="192" creationId="{A5BF4C3C-610A-3BBD-EDE7-FABC83459C36}"/>
          </ac:cxnSpMkLst>
        </pc:cxnChg>
        <pc:cxnChg chg="add mod">
          <ac:chgData name="Fatma Alsagaf" userId="ef587b5e-378a-4bb3-aa9f-3c15b98138a4" providerId="ADAL" clId="{C501D7D1-386F-4507-9267-B8938CF1C372}" dt="2023-10-10T07:38:42.930" v="416" actId="1076"/>
          <ac:cxnSpMkLst>
            <pc:docMk/>
            <pc:sldMk cId="3312873017" sldId="2147377170"/>
            <ac:cxnSpMk id="194" creationId="{12CC32CD-CE14-C4AE-F072-4BA447FE95B4}"/>
          </ac:cxnSpMkLst>
        </pc:cxnChg>
        <pc:cxnChg chg="add mod">
          <ac:chgData name="Fatma Alsagaf" userId="ef587b5e-378a-4bb3-aa9f-3c15b98138a4" providerId="ADAL" clId="{C501D7D1-386F-4507-9267-B8938CF1C372}" dt="2023-10-10T05:14:08.770" v="135"/>
          <ac:cxnSpMkLst>
            <pc:docMk/>
            <pc:sldMk cId="3312873017" sldId="2147377170"/>
            <ac:cxnSpMk id="196" creationId="{4DBE9483-8536-7801-1109-2D230781F0DA}"/>
          </ac:cxnSpMkLst>
        </pc:cxnChg>
        <pc:cxnChg chg="add mod">
          <ac:chgData name="Fatma Alsagaf" userId="ef587b5e-378a-4bb3-aa9f-3c15b98138a4" providerId="ADAL" clId="{C501D7D1-386F-4507-9267-B8938CF1C372}" dt="2023-10-10T05:14:08.770" v="135"/>
          <ac:cxnSpMkLst>
            <pc:docMk/>
            <pc:sldMk cId="3312873017" sldId="2147377170"/>
            <ac:cxnSpMk id="208" creationId="{2248981A-21AA-DB52-4A20-73D987DD6BAC}"/>
          </ac:cxnSpMkLst>
        </pc:cxnChg>
        <pc:cxnChg chg="add mod">
          <ac:chgData name="Fatma Alsagaf" userId="ef587b5e-378a-4bb3-aa9f-3c15b98138a4" providerId="ADAL" clId="{C501D7D1-386F-4507-9267-B8938CF1C372}" dt="2023-10-10T05:14:08.770" v="135"/>
          <ac:cxnSpMkLst>
            <pc:docMk/>
            <pc:sldMk cId="3312873017" sldId="2147377170"/>
            <ac:cxnSpMk id="274" creationId="{E822AB7F-9FFF-FB02-6887-3E316A84D089}"/>
          </ac:cxnSpMkLst>
        </pc:cxnChg>
        <pc:cxnChg chg="add mod">
          <ac:chgData name="Fatma Alsagaf" userId="ef587b5e-378a-4bb3-aa9f-3c15b98138a4" providerId="ADAL" clId="{C501D7D1-386F-4507-9267-B8938CF1C372}" dt="2023-10-10T05:14:08.770" v="135"/>
          <ac:cxnSpMkLst>
            <pc:docMk/>
            <pc:sldMk cId="3312873017" sldId="2147377170"/>
            <ac:cxnSpMk id="278" creationId="{5C33A8F0-7884-A588-51E3-870E1EC937A8}"/>
          </ac:cxnSpMkLst>
        </pc:cxnChg>
      </pc:sldChg>
      <pc:sldChg chg="addSp delSp modSp add mod">
        <pc:chgData name="Fatma Alsagaf" userId="ef587b5e-378a-4bb3-aa9f-3c15b98138a4" providerId="ADAL" clId="{C501D7D1-386F-4507-9267-B8938CF1C372}" dt="2023-10-17T12:26:33.446" v="1512" actId="404"/>
        <pc:sldMkLst>
          <pc:docMk/>
          <pc:sldMk cId="2319192221" sldId="2147377171"/>
        </pc:sldMkLst>
        <pc:spChg chg="add del mod">
          <ac:chgData name="Fatma Alsagaf" userId="ef587b5e-378a-4bb3-aa9f-3c15b98138a4" providerId="ADAL" clId="{C501D7D1-386F-4507-9267-B8938CF1C372}" dt="2023-10-10T05:57:51.154" v="177" actId="478"/>
          <ac:spMkLst>
            <pc:docMk/>
            <pc:sldMk cId="2319192221" sldId="2147377171"/>
            <ac:spMk id="2" creationId="{49DB02BE-E9F2-4252-DB98-63D00EED9B5D}"/>
          </ac:spMkLst>
        </pc:spChg>
        <pc:spChg chg="add del mod">
          <ac:chgData name="Fatma Alsagaf" userId="ef587b5e-378a-4bb3-aa9f-3c15b98138a4" providerId="ADAL" clId="{C501D7D1-386F-4507-9267-B8938CF1C372}" dt="2023-10-13T11:38:30.267" v="1485" actId="20577"/>
          <ac:spMkLst>
            <pc:docMk/>
            <pc:sldMk cId="2319192221" sldId="2147377171"/>
            <ac:spMk id="3" creationId="{852407B0-0573-CDC9-50DD-E8096290CE8D}"/>
          </ac:spMkLst>
        </pc:spChg>
        <pc:spChg chg="add del mod">
          <ac:chgData name="Fatma Alsagaf" userId="ef587b5e-378a-4bb3-aa9f-3c15b98138a4" providerId="ADAL" clId="{C501D7D1-386F-4507-9267-B8938CF1C372}" dt="2023-10-10T05:57:51.154" v="177" actId="478"/>
          <ac:spMkLst>
            <pc:docMk/>
            <pc:sldMk cId="2319192221" sldId="2147377171"/>
            <ac:spMk id="4" creationId="{118192DA-C552-F035-8889-2C403BF55D5F}"/>
          </ac:spMkLst>
        </pc:spChg>
        <pc:spChg chg="add del mod">
          <ac:chgData name="Fatma Alsagaf" userId="ef587b5e-378a-4bb3-aa9f-3c15b98138a4" providerId="ADAL" clId="{C501D7D1-386F-4507-9267-B8938CF1C372}" dt="2023-10-10T05:57:51.154" v="177" actId="478"/>
          <ac:spMkLst>
            <pc:docMk/>
            <pc:sldMk cId="2319192221" sldId="2147377171"/>
            <ac:spMk id="6" creationId="{12631E3B-7B97-B728-2243-44D52B0D2450}"/>
          </ac:spMkLst>
        </pc:spChg>
        <pc:spChg chg="add del mod">
          <ac:chgData name="Fatma Alsagaf" userId="ef587b5e-378a-4bb3-aa9f-3c15b98138a4" providerId="ADAL" clId="{C501D7D1-386F-4507-9267-B8938CF1C372}" dt="2023-10-10T05:57:51.154" v="177" actId="478"/>
          <ac:spMkLst>
            <pc:docMk/>
            <pc:sldMk cId="2319192221" sldId="2147377171"/>
            <ac:spMk id="7" creationId="{E0C71F42-31EE-5384-8111-2DC3A32C25F8}"/>
          </ac:spMkLst>
        </pc:spChg>
        <pc:spChg chg="add del mod">
          <ac:chgData name="Fatma Alsagaf" userId="ef587b5e-378a-4bb3-aa9f-3c15b98138a4" providerId="ADAL" clId="{C501D7D1-386F-4507-9267-B8938CF1C372}" dt="2023-10-10T05:57:51.154" v="177" actId="478"/>
          <ac:spMkLst>
            <pc:docMk/>
            <pc:sldMk cId="2319192221" sldId="2147377171"/>
            <ac:spMk id="8" creationId="{244F6131-555E-5448-98A3-66596489C2FB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9" creationId="{98A2E180-96BC-F480-CA25-23E6017DE1DE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10" creationId="{0453A8D2-425B-4BC3-4B58-F920E605E825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11" creationId="{902B3FA1-161C-D998-60F8-EF3B55245165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12" creationId="{619AE479-52DE-ABD4-B813-6BD6D7A56779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13" creationId="{A6300B0F-8CBF-A6AE-FB35-261411E672D2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14" creationId="{0F0A80FC-E61A-DDC4-E7EB-7D642FC410D9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17" creationId="{5E4757A3-02A5-2F95-4DA0-88C61832F046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19" creationId="{A8A37DAE-B71C-8AA4-2366-ED221E44D105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20" creationId="{CF54DD17-C8B7-E2E0-0349-6EEF026E0B91}"/>
          </ac:spMkLst>
        </pc:spChg>
        <pc:spChg chg="mod">
          <ac:chgData name="Fatma Alsagaf" userId="ef587b5e-378a-4bb3-aa9f-3c15b98138a4" providerId="ADAL" clId="{C501D7D1-386F-4507-9267-B8938CF1C372}" dt="2023-10-10T05:58:17.732" v="180" actId="1076"/>
          <ac:spMkLst>
            <pc:docMk/>
            <pc:sldMk cId="2319192221" sldId="2147377171"/>
            <ac:spMk id="22" creationId="{F0B3F3F4-4F99-F767-E144-EEC1A932E790}"/>
          </ac:spMkLst>
        </pc:spChg>
        <pc:spChg chg="mod">
          <ac:chgData name="Fatma Alsagaf" userId="ef587b5e-378a-4bb3-aa9f-3c15b98138a4" providerId="ADAL" clId="{C501D7D1-386F-4507-9267-B8938CF1C372}" dt="2023-10-10T05:58:17.732" v="180" actId="1076"/>
          <ac:spMkLst>
            <pc:docMk/>
            <pc:sldMk cId="2319192221" sldId="2147377171"/>
            <ac:spMk id="23" creationId="{BBC0EF8D-A115-224B-EA60-49D243B31548}"/>
          </ac:spMkLst>
        </pc:spChg>
        <pc:spChg chg="mod">
          <ac:chgData name="Fatma Alsagaf" userId="ef587b5e-378a-4bb3-aa9f-3c15b98138a4" providerId="ADAL" clId="{C501D7D1-386F-4507-9267-B8938CF1C372}" dt="2023-10-10T05:58:17.732" v="180" actId="1076"/>
          <ac:spMkLst>
            <pc:docMk/>
            <pc:sldMk cId="2319192221" sldId="2147377171"/>
            <ac:spMk id="24" creationId="{3CC4DC59-DB70-F631-8EB1-A61598B0B166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25" creationId="{625E2E8D-FA46-A2E2-B981-44DDD390CE20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26" creationId="{36FFA744-27A7-A38D-CD6B-736F4660C5C7}"/>
          </ac:spMkLst>
        </pc:spChg>
        <pc:spChg chg="add del mod">
          <ac:chgData name="Fatma Alsagaf" userId="ef587b5e-378a-4bb3-aa9f-3c15b98138a4" providerId="ADAL" clId="{C501D7D1-386F-4507-9267-B8938CF1C372}" dt="2023-10-10T05:58:18.489" v="181"/>
          <ac:spMkLst>
            <pc:docMk/>
            <pc:sldMk cId="2319192221" sldId="2147377171"/>
            <ac:spMk id="27" creationId="{E13729B0-A227-8AB0-0F37-5E804D4402B1}"/>
          </ac:spMkLst>
        </pc:spChg>
        <pc:spChg chg="add mod">
          <ac:chgData name="Fatma Alsagaf" userId="ef587b5e-378a-4bb3-aa9f-3c15b98138a4" providerId="ADAL" clId="{C501D7D1-386F-4507-9267-B8938CF1C372}" dt="2023-10-17T12:26:33.446" v="1512" actId="404"/>
          <ac:spMkLst>
            <pc:docMk/>
            <pc:sldMk cId="2319192221" sldId="2147377171"/>
            <ac:spMk id="28" creationId="{31684403-2789-18C8-4EF3-7582DA4AC4CB}"/>
          </ac:spMkLst>
        </pc:spChg>
        <pc:spChg chg="add mod">
          <ac:chgData name="Fatma Alsagaf" userId="ef587b5e-378a-4bb3-aa9f-3c15b98138a4" providerId="ADAL" clId="{C501D7D1-386F-4507-9267-B8938CF1C372}" dt="2023-10-10T12:18:31.280" v="1190" actId="207"/>
          <ac:spMkLst>
            <pc:docMk/>
            <pc:sldMk cId="2319192221" sldId="2147377171"/>
            <ac:spMk id="29" creationId="{EEC22811-D449-C2BE-A6B5-0CAA4FF71188}"/>
          </ac:spMkLst>
        </pc:spChg>
        <pc:spChg chg="add mod">
          <ac:chgData name="Fatma Alsagaf" userId="ef587b5e-378a-4bb3-aa9f-3c15b98138a4" providerId="ADAL" clId="{C501D7D1-386F-4507-9267-B8938CF1C372}" dt="2023-10-10T08:48:08.475" v="545" actId="1036"/>
          <ac:spMkLst>
            <pc:docMk/>
            <pc:sldMk cId="2319192221" sldId="2147377171"/>
            <ac:spMk id="30" creationId="{AA0C7589-4DEE-819E-4028-361280E13EF8}"/>
          </ac:spMkLst>
        </pc:spChg>
        <pc:spChg chg="add del mod">
          <ac:chgData name="Fatma Alsagaf" userId="ef587b5e-378a-4bb3-aa9f-3c15b98138a4" providerId="ADAL" clId="{C501D7D1-386F-4507-9267-B8938CF1C372}" dt="2023-10-10T07:34:17.042" v="398" actId="478"/>
          <ac:spMkLst>
            <pc:docMk/>
            <pc:sldMk cId="2319192221" sldId="2147377171"/>
            <ac:spMk id="31" creationId="{2B868E13-7ADE-E373-66E6-E85CADE5BB9B}"/>
          </ac:spMkLst>
        </pc:spChg>
        <pc:spChg chg="add del mod">
          <ac:chgData name="Fatma Alsagaf" userId="ef587b5e-378a-4bb3-aa9f-3c15b98138a4" providerId="ADAL" clId="{C501D7D1-386F-4507-9267-B8938CF1C372}" dt="2023-10-10T07:43:12.805" v="437" actId="478"/>
          <ac:spMkLst>
            <pc:docMk/>
            <pc:sldMk cId="2319192221" sldId="2147377171"/>
            <ac:spMk id="32" creationId="{F6B24B76-C1FD-BFD9-981A-F99F3964E7E1}"/>
          </ac:spMkLst>
        </pc:spChg>
        <pc:spChg chg="add del mod">
          <ac:chgData name="Fatma Alsagaf" userId="ef587b5e-378a-4bb3-aa9f-3c15b98138a4" providerId="ADAL" clId="{C501D7D1-386F-4507-9267-B8938CF1C372}" dt="2023-10-10T07:43:12.805" v="437" actId="478"/>
          <ac:spMkLst>
            <pc:docMk/>
            <pc:sldMk cId="2319192221" sldId="2147377171"/>
            <ac:spMk id="33" creationId="{C24A575B-11B2-B794-F18D-7111082AB9C4}"/>
          </ac:spMkLst>
        </pc:spChg>
        <pc:spChg chg="add mod">
          <ac:chgData name="Fatma Alsagaf" userId="ef587b5e-378a-4bb3-aa9f-3c15b98138a4" providerId="ADAL" clId="{C501D7D1-386F-4507-9267-B8938CF1C372}" dt="2023-10-10T08:46:27.313" v="533" actId="1076"/>
          <ac:spMkLst>
            <pc:docMk/>
            <pc:sldMk cId="2319192221" sldId="2147377171"/>
            <ac:spMk id="36" creationId="{90F9FBFC-0175-432B-05D9-9FB63CD61E2F}"/>
          </ac:spMkLst>
        </pc:spChg>
        <pc:spChg chg="add del mod">
          <ac:chgData name="Fatma Alsagaf" userId="ef587b5e-378a-4bb3-aa9f-3c15b98138a4" providerId="ADAL" clId="{C501D7D1-386F-4507-9267-B8938CF1C372}" dt="2023-10-10T06:14:36.934" v="265" actId="478"/>
          <ac:spMkLst>
            <pc:docMk/>
            <pc:sldMk cId="2319192221" sldId="2147377171"/>
            <ac:spMk id="38" creationId="{4D02BAC7-B227-1A65-F63C-FBE1AA0C09EF}"/>
          </ac:spMkLst>
        </pc:spChg>
        <pc:spChg chg="add del mod">
          <ac:chgData name="Fatma Alsagaf" userId="ef587b5e-378a-4bb3-aa9f-3c15b98138a4" providerId="ADAL" clId="{C501D7D1-386F-4507-9267-B8938CF1C372}" dt="2023-10-10T06:05:08.691" v="256" actId="478"/>
          <ac:spMkLst>
            <pc:docMk/>
            <pc:sldMk cId="2319192221" sldId="2147377171"/>
            <ac:spMk id="39" creationId="{AED0996E-4EB3-015A-074A-9E1A6D88B29A}"/>
          </ac:spMkLst>
        </pc:spChg>
        <pc:spChg chg="mod">
          <ac:chgData name="Fatma Alsagaf" userId="ef587b5e-378a-4bb3-aa9f-3c15b98138a4" providerId="ADAL" clId="{C501D7D1-386F-4507-9267-B8938CF1C372}" dt="2023-10-10T06:23:56.493" v="372" actId="1076"/>
          <ac:spMkLst>
            <pc:docMk/>
            <pc:sldMk cId="2319192221" sldId="2147377171"/>
            <ac:spMk id="41" creationId="{27CE4AEE-ED20-354A-7B91-B8145EAE4FF9}"/>
          </ac:spMkLst>
        </pc:spChg>
        <pc:spChg chg="mod">
          <ac:chgData name="Fatma Alsagaf" userId="ef587b5e-378a-4bb3-aa9f-3c15b98138a4" providerId="ADAL" clId="{C501D7D1-386F-4507-9267-B8938CF1C372}" dt="2023-10-10T06:23:56.493" v="372" actId="1076"/>
          <ac:spMkLst>
            <pc:docMk/>
            <pc:sldMk cId="2319192221" sldId="2147377171"/>
            <ac:spMk id="42" creationId="{1718CE29-594E-7249-233A-A04A5E6C3AA6}"/>
          </ac:spMkLst>
        </pc:spChg>
        <pc:spChg chg="mod">
          <ac:chgData name="Fatma Alsagaf" userId="ef587b5e-378a-4bb3-aa9f-3c15b98138a4" providerId="ADAL" clId="{C501D7D1-386F-4507-9267-B8938CF1C372}" dt="2023-10-10T06:23:56.493" v="372" actId="1076"/>
          <ac:spMkLst>
            <pc:docMk/>
            <pc:sldMk cId="2319192221" sldId="2147377171"/>
            <ac:spMk id="43" creationId="{509A27FA-C624-BF9E-E0B5-E6A9008DA512}"/>
          </ac:spMkLst>
        </pc:spChg>
        <pc:spChg chg="add mod">
          <ac:chgData name="Fatma Alsagaf" userId="ef587b5e-378a-4bb3-aa9f-3c15b98138a4" providerId="ADAL" clId="{C501D7D1-386F-4507-9267-B8938CF1C372}" dt="2023-10-10T06:21:27.485" v="361" actId="164"/>
          <ac:spMkLst>
            <pc:docMk/>
            <pc:sldMk cId="2319192221" sldId="2147377171"/>
            <ac:spMk id="44" creationId="{15E1D36B-AAE7-95DF-CC15-C0DF436052F0}"/>
          </ac:spMkLst>
        </pc:spChg>
        <pc:spChg chg="add del mod">
          <ac:chgData name="Fatma Alsagaf" userId="ef587b5e-378a-4bb3-aa9f-3c15b98138a4" providerId="ADAL" clId="{C501D7D1-386F-4507-9267-B8938CF1C372}" dt="2023-10-10T07:34:17.042" v="398" actId="478"/>
          <ac:spMkLst>
            <pc:docMk/>
            <pc:sldMk cId="2319192221" sldId="2147377171"/>
            <ac:spMk id="45" creationId="{79F75612-F31C-625A-F221-44492C446322}"/>
          </ac:spMkLst>
        </pc:spChg>
        <pc:spChg chg="add del mod">
          <ac:chgData name="Fatma Alsagaf" userId="ef587b5e-378a-4bb3-aa9f-3c15b98138a4" providerId="ADAL" clId="{C501D7D1-386F-4507-9267-B8938CF1C372}" dt="2023-10-10T07:43:12.805" v="437" actId="478"/>
          <ac:spMkLst>
            <pc:docMk/>
            <pc:sldMk cId="2319192221" sldId="2147377171"/>
            <ac:spMk id="46" creationId="{0B7E1679-DA97-C224-DEA4-A907D9920ED9}"/>
          </ac:spMkLst>
        </pc:spChg>
        <pc:spChg chg="add mod">
          <ac:chgData name="Fatma Alsagaf" userId="ef587b5e-378a-4bb3-aa9f-3c15b98138a4" providerId="ADAL" clId="{C501D7D1-386F-4507-9267-B8938CF1C372}" dt="2023-10-10T06:21:27.485" v="361" actId="164"/>
          <ac:spMkLst>
            <pc:docMk/>
            <pc:sldMk cId="2319192221" sldId="2147377171"/>
            <ac:spMk id="47" creationId="{74C87334-4C7A-7F5D-591A-E51A926798D1}"/>
          </ac:spMkLst>
        </pc:spChg>
        <pc:spChg chg="add del mod">
          <ac:chgData name="Fatma Alsagaf" userId="ef587b5e-378a-4bb3-aa9f-3c15b98138a4" providerId="ADAL" clId="{C501D7D1-386F-4507-9267-B8938CF1C372}" dt="2023-10-10T07:34:20.419" v="399" actId="478"/>
          <ac:spMkLst>
            <pc:docMk/>
            <pc:sldMk cId="2319192221" sldId="2147377171"/>
            <ac:spMk id="48" creationId="{28E29406-1486-870C-230B-2D2FF0A46CAF}"/>
          </ac:spMkLst>
        </pc:spChg>
        <pc:spChg chg="add del mod">
          <ac:chgData name="Fatma Alsagaf" userId="ef587b5e-378a-4bb3-aa9f-3c15b98138a4" providerId="ADAL" clId="{C501D7D1-386F-4507-9267-B8938CF1C372}" dt="2023-10-10T07:43:12.805" v="437" actId="478"/>
          <ac:spMkLst>
            <pc:docMk/>
            <pc:sldMk cId="2319192221" sldId="2147377171"/>
            <ac:spMk id="49" creationId="{A630154A-0753-4DFF-3A6D-620234C73767}"/>
          </ac:spMkLst>
        </pc:spChg>
        <pc:spChg chg="add mod">
          <ac:chgData name="Fatma Alsagaf" userId="ef587b5e-378a-4bb3-aa9f-3c15b98138a4" providerId="ADAL" clId="{C501D7D1-386F-4507-9267-B8938CF1C372}" dt="2023-10-10T08:48:08.475" v="545" actId="1036"/>
          <ac:spMkLst>
            <pc:docMk/>
            <pc:sldMk cId="2319192221" sldId="2147377171"/>
            <ac:spMk id="50" creationId="{ED4B2E75-A104-766D-1577-AE0D40963331}"/>
          </ac:spMkLst>
        </pc:spChg>
        <pc:spChg chg="add del mod">
          <ac:chgData name="Fatma Alsagaf" userId="ef587b5e-378a-4bb3-aa9f-3c15b98138a4" providerId="ADAL" clId="{C501D7D1-386F-4507-9267-B8938CF1C372}" dt="2023-10-10T06:23:33.638" v="369"/>
          <ac:spMkLst>
            <pc:docMk/>
            <pc:sldMk cId="2319192221" sldId="2147377171"/>
            <ac:spMk id="52" creationId="{A02EC7D1-B73D-2B1D-8F3A-157A06E43849}"/>
          </ac:spMkLst>
        </pc:spChg>
        <pc:spChg chg="add del mod">
          <ac:chgData name="Fatma Alsagaf" userId="ef587b5e-378a-4bb3-aa9f-3c15b98138a4" providerId="ADAL" clId="{C501D7D1-386F-4507-9267-B8938CF1C372}" dt="2023-10-10T06:23:33.638" v="369"/>
          <ac:spMkLst>
            <pc:docMk/>
            <pc:sldMk cId="2319192221" sldId="2147377171"/>
            <ac:spMk id="53" creationId="{25B0C3D5-ED1F-2857-03D7-B8D098613D2A}"/>
          </ac:spMkLst>
        </pc:spChg>
        <pc:spChg chg="mod">
          <ac:chgData name="Fatma Alsagaf" userId="ef587b5e-378a-4bb3-aa9f-3c15b98138a4" providerId="ADAL" clId="{C501D7D1-386F-4507-9267-B8938CF1C372}" dt="2023-10-10T06:23:13.045" v="366"/>
          <ac:spMkLst>
            <pc:docMk/>
            <pc:sldMk cId="2319192221" sldId="2147377171"/>
            <ac:spMk id="56" creationId="{C39B4A8F-5372-C762-5140-AF8620795542}"/>
          </ac:spMkLst>
        </pc:spChg>
        <pc:spChg chg="mod">
          <ac:chgData name="Fatma Alsagaf" userId="ef587b5e-378a-4bb3-aa9f-3c15b98138a4" providerId="ADAL" clId="{C501D7D1-386F-4507-9267-B8938CF1C372}" dt="2023-10-10T06:23:13.045" v="366"/>
          <ac:spMkLst>
            <pc:docMk/>
            <pc:sldMk cId="2319192221" sldId="2147377171"/>
            <ac:spMk id="57" creationId="{217984B4-2779-A6A9-CDCB-BE91EA68D1D7}"/>
          </ac:spMkLst>
        </pc:spChg>
        <pc:spChg chg="add del mod">
          <ac:chgData name="Fatma Alsagaf" userId="ef587b5e-378a-4bb3-aa9f-3c15b98138a4" providerId="ADAL" clId="{C501D7D1-386F-4507-9267-B8938CF1C372}" dt="2023-10-10T06:24:50.100" v="377" actId="478"/>
          <ac:spMkLst>
            <pc:docMk/>
            <pc:sldMk cId="2319192221" sldId="2147377171"/>
            <ac:spMk id="58" creationId="{04A84974-1101-763C-99D4-CB0EA862BD88}"/>
          </ac:spMkLst>
        </pc:spChg>
        <pc:spChg chg="add mod">
          <ac:chgData name="Fatma Alsagaf" userId="ef587b5e-378a-4bb3-aa9f-3c15b98138a4" providerId="ADAL" clId="{C501D7D1-386F-4507-9267-B8938CF1C372}" dt="2023-10-17T12:26:32.703" v="1510" actId="1035"/>
          <ac:spMkLst>
            <pc:docMk/>
            <pc:sldMk cId="2319192221" sldId="2147377171"/>
            <ac:spMk id="59" creationId="{2DB4C73B-371D-8FFF-6A85-EA6240960E2E}"/>
          </ac:spMkLst>
        </pc:spChg>
        <pc:spChg chg="mod">
          <ac:chgData name="Fatma Alsagaf" userId="ef587b5e-378a-4bb3-aa9f-3c15b98138a4" providerId="ADAL" clId="{C501D7D1-386F-4507-9267-B8938CF1C372}" dt="2023-10-10T10:15:59.355" v="638" actId="207"/>
          <ac:spMkLst>
            <pc:docMk/>
            <pc:sldMk cId="2319192221" sldId="2147377171"/>
            <ac:spMk id="62" creationId="{C8253123-E184-7C71-E765-2BEBAB23C797}"/>
          </ac:spMkLst>
        </pc:spChg>
        <pc:spChg chg="mod">
          <ac:chgData name="Fatma Alsagaf" userId="ef587b5e-378a-4bb3-aa9f-3c15b98138a4" providerId="ADAL" clId="{C501D7D1-386F-4507-9267-B8938CF1C372}" dt="2023-10-10T10:15:51.323" v="637" actId="207"/>
          <ac:spMkLst>
            <pc:docMk/>
            <pc:sldMk cId="2319192221" sldId="2147377171"/>
            <ac:spMk id="63" creationId="{113D5525-8B6E-66D1-4B9F-D55CE7520D6F}"/>
          </ac:spMkLst>
        </pc:spChg>
        <pc:spChg chg="add del">
          <ac:chgData name="Fatma Alsagaf" userId="ef587b5e-378a-4bb3-aa9f-3c15b98138a4" providerId="ADAL" clId="{C501D7D1-386F-4507-9267-B8938CF1C372}" dt="2023-10-10T06:32:12.079" v="381" actId="22"/>
          <ac:spMkLst>
            <pc:docMk/>
            <pc:sldMk cId="2319192221" sldId="2147377171"/>
            <ac:spMk id="129" creationId="{1544A463-D2A1-E3A4-1E68-4352128D5F73}"/>
          </ac:spMkLst>
        </pc:spChg>
        <pc:spChg chg="add del mod">
          <ac:chgData name="Fatma Alsagaf" userId="ef587b5e-378a-4bb3-aa9f-3c15b98138a4" providerId="ADAL" clId="{C501D7D1-386F-4507-9267-B8938CF1C372}" dt="2023-10-10T07:43:12.805" v="437" actId="478"/>
          <ac:spMkLst>
            <pc:docMk/>
            <pc:sldMk cId="2319192221" sldId="2147377171"/>
            <ac:spMk id="130" creationId="{0664FBFC-E329-27F7-855F-783F931A8DAC}"/>
          </ac:spMkLst>
        </pc:spChg>
        <pc:spChg chg="add del mod">
          <ac:chgData name="Fatma Alsagaf" userId="ef587b5e-378a-4bb3-aa9f-3c15b98138a4" providerId="ADAL" clId="{C501D7D1-386F-4507-9267-B8938CF1C372}" dt="2023-10-10T07:43:12.805" v="437" actId="478"/>
          <ac:spMkLst>
            <pc:docMk/>
            <pc:sldMk cId="2319192221" sldId="2147377171"/>
            <ac:spMk id="131" creationId="{0ED2F286-CA5A-81AA-3AE0-E8DFDECBD39A}"/>
          </ac:spMkLst>
        </pc:spChg>
        <pc:spChg chg="mod">
          <ac:chgData name="Fatma Alsagaf" userId="ef587b5e-378a-4bb3-aa9f-3c15b98138a4" providerId="ADAL" clId="{C501D7D1-386F-4507-9267-B8938CF1C372}" dt="2023-10-10T07:36:48.383" v="412" actId="207"/>
          <ac:spMkLst>
            <pc:docMk/>
            <pc:sldMk cId="2319192221" sldId="2147377171"/>
            <ac:spMk id="133" creationId="{342AE9F9-0F22-A460-A062-442931B2DF10}"/>
          </ac:spMkLst>
        </pc:spChg>
        <pc:spChg chg="mod">
          <ac:chgData name="Fatma Alsagaf" userId="ef587b5e-378a-4bb3-aa9f-3c15b98138a4" providerId="ADAL" clId="{C501D7D1-386F-4507-9267-B8938CF1C372}" dt="2023-10-10T07:35:37.804" v="405"/>
          <ac:spMkLst>
            <pc:docMk/>
            <pc:sldMk cId="2319192221" sldId="2147377171"/>
            <ac:spMk id="134" creationId="{067CFB20-C60D-6277-3B9A-2A58E214D65D}"/>
          </ac:spMkLst>
        </pc:spChg>
        <pc:spChg chg="add mod">
          <ac:chgData name="Fatma Alsagaf" userId="ef587b5e-378a-4bb3-aa9f-3c15b98138a4" providerId="ADAL" clId="{C501D7D1-386F-4507-9267-B8938CF1C372}" dt="2023-10-12T06:04:52.593" v="1465" actId="14100"/>
          <ac:spMkLst>
            <pc:docMk/>
            <pc:sldMk cId="2319192221" sldId="2147377171"/>
            <ac:spMk id="135" creationId="{CDEDFEA5-C7BA-7987-9B21-550AE4AB1778}"/>
          </ac:spMkLst>
        </pc:spChg>
        <pc:spChg chg="add mod">
          <ac:chgData name="Fatma Alsagaf" userId="ef587b5e-378a-4bb3-aa9f-3c15b98138a4" providerId="ADAL" clId="{C501D7D1-386F-4507-9267-B8938CF1C372}" dt="2023-10-12T06:05:07.535" v="1469" actId="1076"/>
          <ac:spMkLst>
            <pc:docMk/>
            <pc:sldMk cId="2319192221" sldId="2147377171"/>
            <ac:spMk id="137" creationId="{276CB0EA-D6C2-1680-BD0C-059FBBE27A41}"/>
          </ac:spMkLst>
        </pc:spChg>
        <pc:spChg chg="mod">
          <ac:chgData name="Fatma Alsagaf" userId="ef587b5e-378a-4bb3-aa9f-3c15b98138a4" providerId="ADAL" clId="{C501D7D1-386F-4507-9267-B8938CF1C372}" dt="2023-10-10T12:32:55.432" v="1361" actId="207"/>
          <ac:spMkLst>
            <pc:docMk/>
            <pc:sldMk cId="2319192221" sldId="2147377171"/>
            <ac:spMk id="139" creationId="{CDBD48B2-3046-0B02-7444-D3478597B658}"/>
          </ac:spMkLst>
        </pc:spChg>
        <pc:spChg chg="mod">
          <ac:chgData name="Fatma Alsagaf" userId="ef587b5e-378a-4bb3-aa9f-3c15b98138a4" providerId="ADAL" clId="{C501D7D1-386F-4507-9267-B8938CF1C372}" dt="2023-10-10T12:33:13.173" v="1363" actId="113"/>
          <ac:spMkLst>
            <pc:docMk/>
            <pc:sldMk cId="2319192221" sldId="2147377171"/>
            <ac:spMk id="140" creationId="{CCF278FC-CEFE-39D9-BE15-8E8934E92DD2}"/>
          </ac:spMkLst>
        </pc:spChg>
        <pc:spChg chg="mod">
          <ac:chgData name="Fatma Alsagaf" userId="ef587b5e-378a-4bb3-aa9f-3c15b98138a4" providerId="ADAL" clId="{C501D7D1-386F-4507-9267-B8938CF1C372}" dt="2023-10-10T12:33:18.658" v="1365" actId="207"/>
          <ac:spMkLst>
            <pc:docMk/>
            <pc:sldMk cId="2319192221" sldId="2147377171"/>
            <ac:spMk id="142" creationId="{D9FD1BA7-E004-56F5-FDF2-F6BC113530A1}"/>
          </ac:spMkLst>
        </pc:spChg>
        <pc:spChg chg="mod">
          <ac:chgData name="Fatma Alsagaf" userId="ef587b5e-378a-4bb3-aa9f-3c15b98138a4" providerId="ADAL" clId="{C501D7D1-386F-4507-9267-B8938CF1C372}" dt="2023-10-10T12:33:18.658" v="1365" actId="207"/>
          <ac:spMkLst>
            <pc:docMk/>
            <pc:sldMk cId="2319192221" sldId="2147377171"/>
            <ac:spMk id="143" creationId="{053F4A7D-5481-9454-B9DB-AC7486387487}"/>
          </ac:spMkLst>
        </pc:spChg>
        <pc:spChg chg="mod">
          <ac:chgData name="Fatma Alsagaf" userId="ef587b5e-378a-4bb3-aa9f-3c15b98138a4" providerId="ADAL" clId="{C501D7D1-386F-4507-9267-B8938CF1C372}" dt="2023-10-10T12:33:25.784" v="1367" actId="113"/>
          <ac:spMkLst>
            <pc:docMk/>
            <pc:sldMk cId="2319192221" sldId="2147377171"/>
            <ac:spMk id="145" creationId="{E96536A6-81C1-1817-1836-85F44A49292A}"/>
          </ac:spMkLst>
        </pc:spChg>
        <pc:spChg chg="mod">
          <ac:chgData name="Fatma Alsagaf" userId="ef587b5e-378a-4bb3-aa9f-3c15b98138a4" providerId="ADAL" clId="{C501D7D1-386F-4507-9267-B8938CF1C372}" dt="2023-10-10T12:33:25.784" v="1367" actId="113"/>
          <ac:spMkLst>
            <pc:docMk/>
            <pc:sldMk cId="2319192221" sldId="2147377171"/>
            <ac:spMk id="146" creationId="{1917AC19-C222-AB72-F1E0-B90A78EE5B02}"/>
          </ac:spMkLst>
        </pc:spChg>
        <pc:spChg chg="del mod topLvl">
          <ac:chgData name="Fatma Alsagaf" userId="ef587b5e-378a-4bb3-aa9f-3c15b98138a4" providerId="ADAL" clId="{C501D7D1-386F-4507-9267-B8938CF1C372}" dt="2023-10-10T08:03:03.524" v="503" actId="478"/>
          <ac:spMkLst>
            <pc:docMk/>
            <pc:sldMk cId="2319192221" sldId="2147377171"/>
            <ac:spMk id="148" creationId="{B4A269B4-F39C-7115-2B6A-4F92431A6C44}"/>
          </ac:spMkLst>
        </pc:spChg>
        <pc:spChg chg="del mod topLvl">
          <ac:chgData name="Fatma Alsagaf" userId="ef587b5e-378a-4bb3-aa9f-3c15b98138a4" providerId="ADAL" clId="{C501D7D1-386F-4507-9267-B8938CF1C372}" dt="2023-10-10T08:03:00.640" v="502" actId="478"/>
          <ac:spMkLst>
            <pc:docMk/>
            <pc:sldMk cId="2319192221" sldId="2147377171"/>
            <ac:spMk id="149" creationId="{1F4042BC-9AAF-3B17-CC11-9271997D49FC}"/>
          </ac:spMkLst>
        </pc:spChg>
        <pc:spChg chg="add del mod">
          <ac:chgData name="Fatma Alsagaf" userId="ef587b5e-378a-4bb3-aa9f-3c15b98138a4" providerId="ADAL" clId="{C501D7D1-386F-4507-9267-B8938CF1C372}" dt="2023-10-10T07:39:43.574" v="422"/>
          <ac:spMkLst>
            <pc:docMk/>
            <pc:sldMk cId="2319192221" sldId="2147377171"/>
            <ac:spMk id="150" creationId="{770DA5FA-220D-210D-E312-C16BCEBF9824}"/>
          </ac:spMkLst>
        </pc:spChg>
        <pc:spChg chg="add del mod">
          <ac:chgData name="Fatma Alsagaf" userId="ef587b5e-378a-4bb3-aa9f-3c15b98138a4" providerId="ADAL" clId="{C501D7D1-386F-4507-9267-B8938CF1C372}" dt="2023-10-10T07:39:43.574" v="422"/>
          <ac:spMkLst>
            <pc:docMk/>
            <pc:sldMk cId="2319192221" sldId="2147377171"/>
            <ac:spMk id="151" creationId="{7DE03AC3-9451-A1CB-93B5-CAD33EDD82B4}"/>
          </ac:spMkLst>
        </pc:spChg>
        <pc:spChg chg="add del mod">
          <ac:chgData name="Fatma Alsagaf" userId="ef587b5e-378a-4bb3-aa9f-3c15b98138a4" providerId="ADAL" clId="{C501D7D1-386F-4507-9267-B8938CF1C372}" dt="2023-10-10T07:39:43.574" v="422"/>
          <ac:spMkLst>
            <pc:docMk/>
            <pc:sldMk cId="2319192221" sldId="2147377171"/>
            <ac:spMk id="152" creationId="{31AB9114-F83F-1759-DA8D-4DC7A0188FDF}"/>
          </ac:spMkLst>
        </pc:spChg>
        <pc:spChg chg="add del mod">
          <ac:chgData name="Fatma Alsagaf" userId="ef587b5e-378a-4bb3-aa9f-3c15b98138a4" providerId="ADAL" clId="{C501D7D1-386F-4507-9267-B8938CF1C372}" dt="2023-10-10T07:39:43.574" v="422"/>
          <ac:spMkLst>
            <pc:docMk/>
            <pc:sldMk cId="2319192221" sldId="2147377171"/>
            <ac:spMk id="153" creationId="{9F5ABA9A-6444-2124-B92E-105532C279ED}"/>
          </ac:spMkLst>
        </pc:spChg>
        <pc:spChg chg="add mod">
          <ac:chgData name="Fatma Alsagaf" userId="ef587b5e-378a-4bb3-aa9f-3c15b98138a4" providerId="ADAL" clId="{C501D7D1-386F-4507-9267-B8938CF1C372}" dt="2023-10-13T11:38:37.256" v="1486" actId="1076"/>
          <ac:spMkLst>
            <pc:docMk/>
            <pc:sldMk cId="2319192221" sldId="2147377171"/>
            <ac:spMk id="156" creationId="{5DA10FD7-65CF-2EB1-A159-0E9025AF92B0}"/>
          </ac:spMkLst>
        </pc:spChg>
        <pc:spChg chg="add mod">
          <ac:chgData name="Fatma Alsagaf" userId="ef587b5e-378a-4bb3-aa9f-3c15b98138a4" providerId="ADAL" clId="{C501D7D1-386F-4507-9267-B8938CF1C372}" dt="2023-10-10T12:36:19.642" v="1383" actId="1582"/>
          <ac:spMkLst>
            <pc:docMk/>
            <pc:sldMk cId="2319192221" sldId="2147377171"/>
            <ac:spMk id="157" creationId="{DADE39F4-F342-EB13-73DC-F7FDEE036370}"/>
          </ac:spMkLst>
        </pc:spChg>
        <pc:spChg chg="add mod">
          <ac:chgData name="Fatma Alsagaf" userId="ef587b5e-378a-4bb3-aa9f-3c15b98138a4" providerId="ADAL" clId="{C501D7D1-386F-4507-9267-B8938CF1C372}" dt="2023-10-10T12:35:45.684" v="1377" actId="1582"/>
          <ac:spMkLst>
            <pc:docMk/>
            <pc:sldMk cId="2319192221" sldId="2147377171"/>
            <ac:spMk id="158" creationId="{FE718A06-BEF4-F4A2-ABDC-3DF67405EEF0}"/>
          </ac:spMkLst>
        </pc:spChg>
        <pc:spChg chg="add mod">
          <ac:chgData name="Fatma Alsagaf" userId="ef587b5e-378a-4bb3-aa9f-3c15b98138a4" providerId="ADAL" clId="{C501D7D1-386F-4507-9267-B8938CF1C372}" dt="2023-10-10T08:46:36.058" v="535" actId="113"/>
          <ac:spMkLst>
            <pc:docMk/>
            <pc:sldMk cId="2319192221" sldId="2147377171"/>
            <ac:spMk id="159" creationId="{B1DC4F89-AD10-06EC-918F-3152316FC818}"/>
          </ac:spMkLst>
        </pc:spChg>
        <pc:spChg chg="add mod">
          <ac:chgData name="Fatma Alsagaf" userId="ef587b5e-378a-4bb3-aa9f-3c15b98138a4" providerId="ADAL" clId="{C501D7D1-386F-4507-9267-B8938CF1C372}" dt="2023-10-10T10:24:18.545" v="759" actId="20577"/>
          <ac:spMkLst>
            <pc:docMk/>
            <pc:sldMk cId="2319192221" sldId="2147377171"/>
            <ac:spMk id="161" creationId="{DBA70DBC-1DB9-5B7D-3789-B0E9F17509EC}"/>
          </ac:spMkLst>
        </pc:spChg>
        <pc:spChg chg="add mod">
          <ac:chgData name="Fatma Alsagaf" userId="ef587b5e-378a-4bb3-aa9f-3c15b98138a4" providerId="ADAL" clId="{C501D7D1-386F-4507-9267-B8938CF1C372}" dt="2023-10-10T10:24:23.642" v="760" actId="20577"/>
          <ac:spMkLst>
            <pc:docMk/>
            <pc:sldMk cId="2319192221" sldId="2147377171"/>
            <ac:spMk id="162" creationId="{5F64FB38-02FD-66A5-8C2D-4C7AA4C5F4B6}"/>
          </ac:spMkLst>
        </pc:spChg>
        <pc:spChg chg="add del mod">
          <ac:chgData name="Fatma Alsagaf" userId="ef587b5e-378a-4bb3-aa9f-3c15b98138a4" providerId="ADAL" clId="{C501D7D1-386F-4507-9267-B8938CF1C372}" dt="2023-10-10T08:49:16.688" v="548" actId="478"/>
          <ac:spMkLst>
            <pc:docMk/>
            <pc:sldMk cId="2319192221" sldId="2147377171"/>
            <ac:spMk id="163" creationId="{F6AF739D-55C7-21D4-57C7-AC3A4DF22F3A}"/>
          </ac:spMkLst>
        </pc:spChg>
        <pc:spChg chg="add mod">
          <ac:chgData name="Fatma Alsagaf" userId="ef587b5e-378a-4bb3-aa9f-3c15b98138a4" providerId="ADAL" clId="{C501D7D1-386F-4507-9267-B8938CF1C372}" dt="2023-10-10T12:18:31.280" v="1190" actId="207"/>
          <ac:spMkLst>
            <pc:docMk/>
            <pc:sldMk cId="2319192221" sldId="2147377171"/>
            <ac:spMk id="164" creationId="{6DE44742-2C24-32A5-C609-4195E784BE8C}"/>
          </ac:spMkLst>
        </pc:spChg>
        <pc:spChg chg="mod">
          <ac:chgData name="Fatma Alsagaf" userId="ef587b5e-378a-4bb3-aa9f-3c15b98138a4" providerId="ADAL" clId="{C501D7D1-386F-4507-9267-B8938CF1C372}" dt="2023-10-10T08:10:00.713" v="510"/>
          <ac:spMkLst>
            <pc:docMk/>
            <pc:sldMk cId="2319192221" sldId="2147377171"/>
            <ac:spMk id="166" creationId="{7C0D064A-75FA-21BE-5F77-3CCB6FE7C3D1}"/>
          </ac:spMkLst>
        </pc:spChg>
        <pc:spChg chg="mod">
          <ac:chgData name="Fatma Alsagaf" userId="ef587b5e-378a-4bb3-aa9f-3c15b98138a4" providerId="ADAL" clId="{C501D7D1-386F-4507-9267-B8938CF1C372}" dt="2023-10-10T08:10:00.713" v="510"/>
          <ac:spMkLst>
            <pc:docMk/>
            <pc:sldMk cId="2319192221" sldId="2147377171"/>
            <ac:spMk id="167" creationId="{63A66815-8DCB-F7D8-5FFB-D95BF8F6CC73}"/>
          </ac:spMkLst>
        </pc:spChg>
        <pc:spChg chg="add mod">
          <ac:chgData name="Fatma Alsagaf" userId="ef587b5e-378a-4bb3-aa9f-3c15b98138a4" providerId="ADAL" clId="{C501D7D1-386F-4507-9267-B8938CF1C372}" dt="2023-10-10T10:36:02.524" v="891" actId="164"/>
          <ac:spMkLst>
            <pc:docMk/>
            <pc:sldMk cId="2319192221" sldId="2147377171"/>
            <ac:spMk id="168" creationId="{EE1842C1-F3DF-E2BE-3A59-BFFF9D5DC3B8}"/>
          </ac:spMkLst>
        </pc:spChg>
        <pc:spChg chg="add del mod">
          <ac:chgData name="Fatma Alsagaf" userId="ef587b5e-378a-4bb3-aa9f-3c15b98138a4" providerId="ADAL" clId="{C501D7D1-386F-4507-9267-B8938CF1C372}" dt="2023-10-10T08:54:54.593" v="585" actId="478"/>
          <ac:spMkLst>
            <pc:docMk/>
            <pc:sldMk cId="2319192221" sldId="2147377171"/>
            <ac:spMk id="169" creationId="{07D45895-AC79-D616-9981-F5DBDAE312C4}"/>
          </ac:spMkLst>
        </pc:spChg>
        <pc:spChg chg="add del mod">
          <ac:chgData name="Fatma Alsagaf" userId="ef587b5e-378a-4bb3-aa9f-3c15b98138a4" providerId="ADAL" clId="{C501D7D1-386F-4507-9267-B8938CF1C372}" dt="2023-10-10T08:54:58.052" v="587" actId="478"/>
          <ac:spMkLst>
            <pc:docMk/>
            <pc:sldMk cId="2319192221" sldId="2147377171"/>
            <ac:spMk id="170" creationId="{B417F0ED-C4FF-2EE8-B7DF-8861894ECE36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72" creationId="{3E94D0E6-7B49-BBF4-A5EC-568815C8A13B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73" creationId="{4436A6D0-C544-21E3-EFC2-77508B9753A3}"/>
          </ac:spMkLst>
        </pc:spChg>
        <pc:spChg chg="add del mod">
          <ac:chgData name="Fatma Alsagaf" userId="ef587b5e-378a-4bb3-aa9f-3c15b98138a4" providerId="ADAL" clId="{C501D7D1-386F-4507-9267-B8938CF1C372}" dt="2023-10-10T12:36:07.085" v="1381" actId="1582"/>
          <ac:spMkLst>
            <pc:docMk/>
            <pc:sldMk cId="2319192221" sldId="2147377171"/>
            <ac:spMk id="174" creationId="{BC5C9068-FFA4-4B71-5232-233A14D9388D}"/>
          </ac:spMkLst>
        </pc:spChg>
        <pc:spChg chg="add del">
          <ac:chgData name="Fatma Alsagaf" userId="ef587b5e-378a-4bb3-aa9f-3c15b98138a4" providerId="ADAL" clId="{C501D7D1-386F-4507-9267-B8938CF1C372}" dt="2023-10-10T05:44:56.325" v="139" actId="478"/>
          <ac:spMkLst>
            <pc:docMk/>
            <pc:sldMk cId="2319192221" sldId="2147377171"/>
            <ac:spMk id="175" creationId="{D350CA48-28A9-5D67-0C2A-0FA0F1C3621B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76" creationId="{69CA5C9F-6260-B9BB-C347-802EB4C5C463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77" creationId="{73E32165-B327-949B-B5CE-6AA3BF55C371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78" creationId="{88B58880-B683-BB6E-79F8-A67850546F5E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79" creationId="{98C3A2C0-A685-4C0C-4736-102D185A6135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80" creationId="{80F8AC97-4E80-7251-6328-23043F637B03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81" creationId="{20884BFB-1630-1DE7-5045-A7D8199E705B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82" creationId="{E68389DA-42EA-D98F-B11E-876F04A092E5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83" creationId="{4AC23454-7D47-24B0-4A42-BCFEE1F5BA1F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84" creationId="{F51A9843-DDE2-FB0E-FD7E-6BE22AAD0A0B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85" creationId="{3DE8A6CC-D23D-D7D0-4EF7-252DDD166E7A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89" creationId="{DC425629-D215-D58F-2A5F-52230F415D69}"/>
          </ac:spMkLst>
        </pc:spChg>
        <pc:spChg chg="del mod">
          <ac:chgData name="Fatma Alsagaf" userId="ef587b5e-378a-4bb3-aa9f-3c15b98138a4" providerId="ADAL" clId="{C501D7D1-386F-4507-9267-B8938CF1C372}" dt="2023-10-10T05:46:31.518" v="149" actId="478"/>
          <ac:spMkLst>
            <pc:docMk/>
            <pc:sldMk cId="2319192221" sldId="2147377171"/>
            <ac:spMk id="191" creationId="{D9CDB953-8B47-053F-FE3F-1673F42B17C2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93" creationId="{D2069B2E-BFA0-FCFD-B560-CFF8640DA214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95" creationId="{39F19F0C-965D-7C0C-5610-E74E6F9B83AF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97" creationId="{2AF87A11-C1B7-6922-AB96-F847D1F82C0B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198" creationId="{6AB907CD-6BE0-F94C-D736-E2A0AFED67BD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07" creationId="{5092EB5D-958B-C248-8ACD-344510116A80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10" creationId="{D8A21DBC-013A-EF42-FFAF-6283EEAD970E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11" creationId="{2920C3E9-2476-37C2-5490-A59914A18924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12" creationId="{A92F0C38-ED7B-3834-9C05-6FC9881C6FD8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13" creationId="{BFE6B574-3CE5-3A65-362E-89F62323177C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14" creationId="{2CC6B271-F825-D2B7-6217-22CCF7832911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15" creationId="{D3811F01-4B1A-1233-6F5C-9CA14DDB756F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16" creationId="{2166F4EF-9A53-916C-C81E-C182863DB1C6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17" creationId="{86B6CB3B-D479-CFB0-C36E-5F0687927FF7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18" creationId="{C94F1974-F58C-3928-AC83-7A10C63CF3F1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31" creationId="{1090B724-31EE-2D68-7111-FE0F111E8B37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32" creationId="{46637A05-3F4F-F86D-FDDA-F3F73969D215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33" creationId="{B6695571-B61E-44A5-1554-BB0FE20ED4DC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46" creationId="{37ED7296-121C-EBA9-6F11-2EB43DFF855D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47" creationId="{17E1FD46-8414-EF52-19F4-3B941B9B3682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48" creationId="{BB11F6D1-A8A4-E1C2-35D8-CA1E96986A84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71" creationId="{E0C2B151-08A7-5F3B-30EE-3CC5425BCA41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72" creationId="{41E99207-3FF2-1D87-A650-7598CD5B1A91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73" creationId="{ABAE6A65-B170-66F5-DF1A-ED3790629C43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75" creationId="{B9EFA10B-BB93-8607-E734-6DCB9DEB1A4C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76" creationId="{046D1CF5-521D-2A1D-2219-CF18D90261AB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77" creationId="{CDFA2010-372C-B910-D5D0-902F7A81A234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79" creationId="{15C47174-42E0-BDEF-C3FD-E0BF4F9EC420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80" creationId="{9BAC8BB5-7B61-3BE6-C474-7C7EBE79890F}"/>
          </ac:spMkLst>
        </pc:spChg>
        <pc:spChg chg="add del">
          <ac:chgData name="Fatma Alsagaf" userId="ef587b5e-378a-4bb3-aa9f-3c15b98138a4" providerId="ADAL" clId="{C501D7D1-386F-4507-9267-B8938CF1C372}" dt="2023-10-10T05:45:10.061" v="143" actId="478"/>
          <ac:spMkLst>
            <pc:docMk/>
            <pc:sldMk cId="2319192221" sldId="2147377171"/>
            <ac:spMk id="281" creationId="{B770D3E1-7DC5-38E2-4659-58BDE8C9F615}"/>
          </ac:spMkLst>
        </pc:spChg>
        <pc:spChg chg="mod">
          <ac:chgData name="Fatma Alsagaf" userId="ef587b5e-378a-4bb3-aa9f-3c15b98138a4" providerId="ADAL" clId="{C501D7D1-386F-4507-9267-B8938CF1C372}" dt="2023-10-10T10:39:29.283" v="921" actId="20577"/>
          <ac:spMkLst>
            <pc:docMk/>
            <pc:sldMk cId="2319192221" sldId="2147377171"/>
            <ac:spMk id="286" creationId="{961B4028-52E6-C6EA-09A5-F976DD8D2729}"/>
          </ac:spMkLst>
        </pc:spChg>
        <pc:spChg chg="mod">
          <ac:chgData name="Fatma Alsagaf" userId="ef587b5e-378a-4bb3-aa9f-3c15b98138a4" providerId="ADAL" clId="{C501D7D1-386F-4507-9267-B8938CF1C372}" dt="2023-10-10T10:39:18.209" v="919" actId="20577"/>
          <ac:spMkLst>
            <pc:docMk/>
            <pc:sldMk cId="2319192221" sldId="2147377171"/>
            <ac:spMk id="287" creationId="{176F8A9D-BA76-A682-0CCD-AEAEAB7830EF}"/>
          </ac:spMkLst>
        </pc:spChg>
        <pc:spChg chg="mod">
          <ac:chgData name="Fatma Alsagaf" userId="ef587b5e-378a-4bb3-aa9f-3c15b98138a4" providerId="ADAL" clId="{C501D7D1-386F-4507-9267-B8938CF1C372}" dt="2023-10-10T10:39:00.822" v="916"/>
          <ac:spMkLst>
            <pc:docMk/>
            <pc:sldMk cId="2319192221" sldId="2147377171"/>
            <ac:spMk id="288" creationId="{2B9E8F19-1A44-B208-8815-67424A9216F0}"/>
          </ac:spMkLst>
        </pc:spChg>
        <pc:spChg chg="mod">
          <ac:chgData name="Fatma Alsagaf" userId="ef587b5e-378a-4bb3-aa9f-3c15b98138a4" providerId="ADAL" clId="{C501D7D1-386F-4507-9267-B8938CF1C372}" dt="2023-10-10T10:36:52.502" v="901"/>
          <ac:spMkLst>
            <pc:docMk/>
            <pc:sldMk cId="2319192221" sldId="2147377171"/>
            <ac:spMk id="290" creationId="{06F3A11D-567D-1ED9-56D4-A4B5C19E4E78}"/>
          </ac:spMkLst>
        </pc:spChg>
        <pc:spChg chg="mod">
          <ac:chgData name="Fatma Alsagaf" userId="ef587b5e-378a-4bb3-aa9f-3c15b98138a4" providerId="ADAL" clId="{C501D7D1-386F-4507-9267-B8938CF1C372}" dt="2023-10-10T10:50:39.860" v="945" actId="20577"/>
          <ac:spMkLst>
            <pc:docMk/>
            <pc:sldMk cId="2319192221" sldId="2147377171"/>
            <ac:spMk id="292" creationId="{CDE2C70D-0154-AA51-6E5F-F8C678E87063}"/>
          </ac:spMkLst>
        </pc:spChg>
        <pc:spChg chg="mod">
          <ac:chgData name="Fatma Alsagaf" userId="ef587b5e-378a-4bb3-aa9f-3c15b98138a4" providerId="ADAL" clId="{C501D7D1-386F-4507-9267-B8938CF1C372}" dt="2023-10-10T10:39:41.504" v="925" actId="20577"/>
          <ac:spMkLst>
            <pc:docMk/>
            <pc:sldMk cId="2319192221" sldId="2147377171"/>
            <ac:spMk id="293" creationId="{E0F3B8EE-50BF-7650-47B8-CD3B723C257E}"/>
          </ac:spMkLst>
        </pc:spChg>
        <pc:spChg chg="mod">
          <ac:chgData name="Fatma Alsagaf" userId="ef587b5e-378a-4bb3-aa9f-3c15b98138a4" providerId="ADAL" clId="{C501D7D1-386F-4507-9267-B8938CF1C372}" dt="2023-10-10T10:39:05.817" v="917"/>
          <ac:spMkLst>
            <pc:docMk/>
            <pc:sldMk cId="2319192221" sldId="2147377171"/>
            <ac:spMk id="294" creationId="{10DD877F-D8A5-7205-E6E8-BA3F41F0B2DE}"/>
          </ac:spMkLst>
        </pc:spChg>
        <pc:spChg chg="add mod">
          <ac:chgData name="Fatma Alsagaf" userId="ef587b5e-378a-4bb3-aa9f-3c15b98138a4" providerId="ADAL" clId="{C501D7D1-386F-4507-9267-B8938CF1C372}" dt="2023-10-10T10:50:16.619" v="931"/>
          <ac:spMkLst>
            <pc:docMk/>
            <pc:sldMk cId="2319192221" sldId="2147377171"/>
            <ac:spMk id="295" creationId="{B649E438-4098-B9C4-60AB-36F2B2A9234A}"/>
          </ac:spMkLst>
        </pc:spChg>
        <pc:spChg chg="add mod">
          <ac:chgData name="Fatma Alsagaf" userId="ef587b5e-378a-4bb3-aa9f-3c15b98138a4" providerId="ADAL" clId="{C501D7D1-386F-4507-9267-B8938CF1C372}" dt="2023-10-10T10:50:16.619" v="931"/>
          <ac:spMkLst>
            <pc:docMk/>
            <pc:sldMk cId="2319192221" sldId="2147377171"/>
            <ac:spMk id="296" creationId="{422CA500-70FC-0CDB-A245-BD50241B2DD8}"/>
          </ac:spMkLst>
        </pc:spChg>
        <pc:spChg chg="add mod">
          <ac:chgData name="Fatma Alsagaf" userId="ef587b5e-378a-4bb3-aa9f-3c15b98138a4" providerId="ADAL" clId="{C501D7D1-386F-4507-9267-B8938CF1C372}" dt="2023-10-10T10:50:16.619" v="931"/>
          <ac:spMkLst>
            <pc:docMk/>
            <pc:sldMk cId="2319192221" sldId="2147377171"/>
            <ac:spMk id="297" creationId="{5717E8DD-4392-924B-71B8-A26BC8E43579}"/>
          </ac:spMkLst>
        </pc:spChg>
        <pc:spChg chg="add del mod">
          <ac:chgData name="Fatma Alsagaf" userId="ef587b5e-378a-4bb3-aa9f-3c15b98138a4" providerId="ADAL" clId="{C501D7D1-386F-4507-9267-B8938CF1C372}" dt="2023-10-10T10:50:34.331" v="941"/>
          <ac:spMkLst>
            <pc:docMk/>
            <pc:sldMk cId="2319192221" sldId="2147377171"/>
            <ac:spMk id="298" creationId="{B649E438-4098-B9C4-60AB-36F2B2A9234A}"/>
          </ac:spMkLst>
        </pc:spChg>
        <pc:spChg chg="add del mod">
          <ac:chgData name="Fatma Alsagaf" userId="ef587b5e-378a-4bb3-aa9f-3c15b98138a4" providerId="ADAL" clId="{C501D7D1-386F-4507-9267-B8938CF1C372}" dt="2023-10-10T10:50:34.331" v="941"/>
          <ac:spMkLst>
            <pc:docMk/>
            <pc:sldMk cId="2319192221" sldId="2147377171"/>
            <ac:spMk id="299" creationId="{422CA500-70FC-0CDB-A245-BD50241B2DD8}"/>
          </ac:spMkLst>
        </pc:spChg>
        <pc:spChg chg="add del mod">
          <ac:chgData name="Fatma Alsagaf" userId="ef587b5e-378a-4bb3-aa9f-3c15b98138a4" providerId="ADAL" clId="{C501D7D1-386F-4507-9267-B8938CF1C372}" dt="2023-10-10T10:50:34.331" v="941"/>
          <ac:spMkLst>
            <pc:docMk/>
            <pc:sldMk cId="2319192221" sldId="2147377171"/>
            <ac:spMk id="300" creationId="{5717E8DD-4392-924B-71B8-A26BC8E43579}"/>
          </ac:spMkLst>
        </pc:spChg>
        <pc:spChg chg="add del mod">
          <ac:chgData name="Fatma Alsagaf" userId="ef587b5e-378a-4bb3-aa9f-3c15b98138a4" providerId="ADAL" clId="{C501D7D1-386F-4507-9267-B8938CF1C372}" dt="2023-10-10T10:54:00.956" v="972" actId="478"/>
          <ac:spMkLst>
            <pc:docMk/>
            <pc:sldMk cId="2319192221" sldId="2147377171"/>
            <ac:spMk id="301" creationId="{9FDD2462-5512-E7B6-FA4E-C67CE8077D8B}"/>
          </ac:spMkLst>
        </pc:spChg>
        <pc:spChg chg="add del mod">
          <ac:chgData name="Fatma Alsagaf" userId="ef587b5e-378a-4bb3-aa9f-3c15b98138a4" providerId="ADAL" clId="{C501D7D1-386F-4507-9267-B8938CF1C372}" dt="2023-10-10T10:52:11.137" v="966" actId="478"/>
          <ac:spMkLst>
            <pc:docMk/>
            <pc:sldMk cId="2319192221" sldId="2147377171"/>
            <ac:spMk id="302" creationId="{400BA34A-F8B9-A5EC-8ABA-FE09DC28B812}"/>
          </ac:spMkLst>
        </pc:spChg>
        <pc:spChg chg="add del mod">
          <ac:chgData name="Fatma Alsagaf" userId="ef587b5e-378a-4bb3-aa9f-3c15b98138a4" providerId="ADAL" clId="{C501D7D1-386F-4507-9267-B8938CF1C372}" dt="2023-10-10T10:54:04.372" v="973" actId="478"/>
          <ac:spMkLst>
            <pc:docMk/>
            <pc:sldMk cId="2319192221" sldId="2147377171"/>
            <ac:spMk id="303" creationId="{1FACD8BC-02E0-9B00-9498-DB530DADCEF2}"/>
          </ac:spMkLst>
        </pc:spChg>
        <pc:spChg chg="add del mod">
          <ac:chgData name="Fatma Alsagaf" userId="ef587b5e-378a-4bb3-aa9f-3c15b98138a4" providerId="ADAL" clId="{C501D7D1-386F-4507-9267-B8938CF1C372}" dt="2023-10-10T10:54:21.341" v="975"/>
          <ac:spMkLst>
            <pc:docMk/>
            <pc:sldMk cId="2319192221" sldId="2147377171"/>
            <ac:spMk id="304" creationId="{AA8D78A8-285A-5FB9-C546-E4BFE5F146D5}"/>
          </ac:spMkLst>
        </pc:spChg>
        <pc:spChg chg="add del mod">
          <ac:chgData name="Fatma Alsagaf" userId="ef587b5e-378a-4bb3-aa9f-3c15b98138a4" providerId="ADAL" clId="{C501D7D1-386F-4507-9267-B8938CF1C372}" dt="2023-10-10T10:54:21.341" v="975"/>
          <ac:spMkLst>
            <pc:docMk/>
            <pc:sldMk cId="2319192221" sldId="2147377171"/>
            <ac:spMk id="305" creationId="{752EC571-342D-DA4B-BC97-D1052A71568D}"/>
          </ac:spMkLst>
        </pc:spChg>
        <pc:spChg chg="add del mod">
          <ac:chgData name="Fatma Alsagaf" userId="ef587b5e-378a-4bb3-aa9f-3c15b98138a4" providerId="ADAL" clId="{C501D7D1-386F-4507-9267-B8938CF1C372}" dt="2023-10-10T10:54:21.341" v="975"/>
          <ac:spMkLst>
            <pc:docMk/>
            <pc:sldMk cId="2319192221" sldId="2147377171"/>
            <ac:spMk id="306" creationId="{28C2A709-F2B4-EAC6-7344-BAC206FE7D51}"/>
          </ac:spMkLst>
        </pc:spChg>
        <pc:spChg chg="add del mod">
          <ac:chgData name="Fatma Alsagaf" userId="ef587b5e-378a-4bb3-aa9f-3c15b98138a4" providerId="ADAL" clId="{C501D7D1-386F-4507-9267-B8938CF1C372}" dt="2023-10-10T10:54:21.341" v="975"/>
          <ac:spMkLst>
            <pc:docMk/>
            <pc:sldMk cId="2319192221" sldId="2147377171"/>
            <ac:spMk id="307" creationId="{D0DED084-2083-F58F-3C99-FF37DC370E19}"/>
          </ac:spMkLst>
        </pc:spChg>
        <pc:spChg chg="add del mod">
          <ac:chgData name="Fatma Alsagaf" userId="ef587b5e-378a-4bb3-aa9f-3c15b98138a4" providerId="ADAL" clId="{C501D7D1-386F-4507-9267-B8938CF1C372}" dt="2023-10-10T10:54:21.341" v="975"/>
          <ac:spMkLst>
            <pc:docMk/>
            <pc:sldMk cId="2319192221" sldId="2147377171"/>
            <ac:spMk id="308" creationId="{AE5749FB-B1AB-2EA6-E02C-EEBFE15E9065}"/>
          </ac:spMkLst>
        </pc:spChg>
        <pc:spChg chg="add del mod">
          <ac:chgData name="Fatma Alsagaf" userId="ef587b5e-378a-4bb3-aa9f-3c15b98138a4" providerId="ADAL" clId="{C501D7D1-386F-4507-9267-B8938CF1C372}" dt="2023-10-10T10:54:21.341" v="975"/>
          <ac:spMkLst>
            <pc:docMk/>
            <pc:sldMk cId="2319192221" sldId="2147377171"/>
            <ac:spMk id="309" creationId="{569754A6-F1E8-EFD1-0277-89386703A0DD}"/>
          </ac:spMkLst>
        </pc:spChg>
        <pc:spChg chg="add del mod">
          <ac:chgData name="Fatma Alsagaf" userId="ef587b5e-378a-4bb3-aa9f-3c15b98138a4" providerId="ADAL" clId="{C501D7D1-386F-4507-9267-B8938CF1C372}" dt="2023-10-10T10:54:46.527" v="981"/>
          <ac:spMkLst>
            <pc:docMk/>
            <pc:sldMk cId="2319192221" sldId="2147377171"/>
            <ac:spMk id="311" creationId="{B47D9561-FF9F-7692-97FF-6D73B41C91C5}"/>
          </ac:spMkLst>
        </pc:spChg>
        <pc:spChg chg="add del mod">
          <ac:chgData name="Fatma Alsagaf" userId="ef587b5e-378a-4bb3-aa9f-3c15b98138a4" providerId="ADAL" clId="{C501D7D1-386F-4507-9267-B8938CF1C372}" dt="2023-10-10T10:54:46.527" v="981"/>
          <ac:spMkLst>
            <pc:docMk/>
            <pc:sldMk cId="2319192221" sldId="2147377171"/>
            <ac:spMk id="312" creationId="{CF32EEA5-91E7-56C8-0913-D1DC985CBCBC}"/>
          </ac:spMkLst>
        </pc:spChg>
        <pc:spChg chg="add del mod">
          <ac:chgData name="Fatma Alsagaf" userId="ef587b5e-378a-4bb3-aa9f-3c15b98138a4" providerId="ADAL" clId="{C501D7D1-386F-4507-9267-B8938CF1C372}" dt="2023-10-10T10:54:46.527" v="981"/>
          <ac:spMkLst>
            <pc:docMk/>
            <pc:sldMk cId="2319192221" sldId="2147377171"/>
            <ac:spMk id="313" creationId="{947DA235-BFC4-BDB8-DE76-391FDDA60B19}"/>
          </ac:spMkLst>
        </pc:spChg>
        <pc:spChg chg="add del mod">
          <ac:chgData name="Fatma Alsagaf" userId="ef587b5e-378a-4bb3-aa9f-3c15b98138a4" providerId="ADAL" clId="{C501D7D1-386F-4507-9267-B8938CF1C372}" dt="2023-10-10T10:54:46.527" v="981"/>
          <ac:spMkLst>
            <pc:docMk/>
            <pc:sldMk cId="2319192221" sldId="2147377171"/>
            <ac:spMk id="314" creationId="{038FFB5E-CB2C-CB7E-131B-AD8E609012D6}"/>
          </ac:spMkLst>
        </pc:spChg>
        <pc:spChg chg="add del mod">
          <ac:chgData name="Fatma Alsagaf" userId="ef587b5e-378a-4bb3-aa9f-3c15b98138a4" providerId="ADAL" clId="{C501D7D1-386F-4507-9267-B8938CF1C372}" dt="2023-10-10T10:54:46.527" v="981"/>
          <ac:spMkLst>
            <pc:docMk/>
            <pc:sldMk cId="2319192221" sldId="2147377171"/>
            <ac:spMk id="315" creationId="{B5E826F2-C514-4D78-6538-FA13A14CB50C}"/>
          </ac:spMkLst>
        </pc:spChg>
        <pc:spChg chg="add del mod">
          <ac:chgData name="Fatma Alsagaf" userId="ef587b5e-378a-4bb3-aa9f-3c15b98138a4" providerId="ADAL" clId="{C501D7D1-386F-4507-9267-B8938CF1C372}" dt="2023-10-10T10:54:46.527" v="981"/>
          <ac:spMkLst>
            <pc:docMk/>
            <pc:sldMk cId="2319192221" sldId="2147377171"/>
            <ac:spMk id="316" creationId="{8CF798D8-3736-2A8C-08D9-28B19EFB3B93}"/>
          </ac:spMkLst>
        </pc:spChg>
        <pc:spChg chg="add del mod">
          <ac:chgData name="Fatma Alsagaf" userId="ef587b5e-378a-4bb3-aa9f-3c15b98138a4" providerId="ADAL" clId="{C501D7D1-386F-4507-9267-B8938CF1C372}" dt="2023-10-10T10:54:45.797" v="980"/>
          <ac:spMkLst>
            <pc:docMk/>
            <pc:sldMk cId="2319192221" sldId="2147377171"/>
            <ac:spMk id="318" creationId="{026579D5-1BF9-7F21-618E-719C68748E6C}"/>
          </ac:spMkLst>
        </pc:spChg>
        <pc:spChg chg="add del mod">
          <ac:chgData name="Fatma Alsagaf" userId="ef587b5e-378a-4bb3-aa9f-3c15b98138a4" providerId="ADAL" clId="{C501D7D1-386F-4507-9267-B8938CF1C372}" dt="2023-10-10T10:54:45.797" v="980"/>
          <ac:spMkLst>
            <pc:docMk/>
            <pc:sldMk cId="2319192221" sldId="2147377171"/>
            <ac:spMk id="319" creationId="{1356667A-0F11-1366-E764-3246378E8A1A}"/>
          </ac:spMkLst>
        </pc:spChg>
        <pc:spChg chg="mod">
          <ac:chgData name="Fatma Alsagaf" userId="ef587b5e-378a-4bb3-aa9f-3c15b98138a4" providerId="ADAL" clId="{C501D7D1-386F-4507-9267-B8938CF1C372}" dt="2023-10-10T10:35:31.276" v="882" actId="1036"/>
          <ac:spMkLst>
            <pc:docMk/>
            <pc:sldMk cId="2319192221" sldId="2147377171"/>
            <ac:spMk id="1024" creationId="{1CA53530-BE89-17AC-057E-FC957218558A}"/>
          </ac:spMkLst>
        </pc:spChg>
        <pc:spChg chg="mod">
          <ac:chgData name="Fatma Alsagaf" userId="ef587b5e-378a-4bb3-aa9f-3c15b98138a4" providerId="ADAL" clId="{C501D7D1-386F-4507-9267-B8938CF1C372}" dt="2023-10-10T10:35:39.740" v="887" actId="1036"/>
          <ac:spMkLst>
            <pc:docMk/>
            <pc:sldMk cId="2319192221" sldId="2147377171"/>
            <ac:spMk id="1025" creationId="{469E175A-9710-27D8-57A6-6AA78BFE74F6}"/>
          </ac:spMkLst>
        </pc:spChg>
        <pc:spChg chg="mod">
          <ac:chgData name="Fatma Alsagaf" userId="ef587b5e-378a-4bb3-aa9f-3c15b98138a4" providerId="ADAL" clId="{C501D7D1-386F-4507-9267-B8938CF1C372}" dt="2023-10-10T08:48:41.819" v="546"/>
          <ac:spMkLst>
            <pc:docMk/>
            <pc:sldMk cId="2319192221" sldId="2147377171"/>
            <ac:spMk id="1029" creationId="{1C269A94-8F9E-2B9D-6565-4A3CAB0C2596}"/>
          </ac:spMkLst>
        </pc:spChg>
        <pc:spChg chg="mod">
          <ac:chgData name="Fatma Alsagaf" userId="ef587b5e-378a-4bb3-aa9f-3c15b98138a4" providerId="ADAL" clId="{C501D7D1-386F-4507-9267-B8938CF1C372}" dt="2023-10-10T08:51:57.957" v="551"/>
          <ac:spMkLst>
            <pc:docMk/>
            <pc:sldMk cId="2319192221" sldId="2147377171"/>
            <ac:spMk id="1031" creationId="{0451C536-218A-E163-DB47-38AF9A8957C8}"/>
          </ac:spMkLst>
        </pc:spChg>
        <pc:spChg chg="mod">
          <ac:chgData name="Fatma Alsagaf" userId="ef587b5e-378a-4bb3-aa9f-3c15b98138a4" providerId="ADAL" clId="{C501D7D1-386F-4507-9267-B8938CF1C372}" dt="2023-10-10T08:48:41.819" v="546"/>
          <ac:spMkLst>
            <pc:docMk/>
            <pc:sldMk cId="2319192221" sldId="2147377171"/>
            <ac:spMk id="1034" creationId="{BB8E59F8-1CAF-9DE2-B89A-674D6886864D}"/>
          </ac:spMkLst>
        </pc:spChg>
        <pc:spChg chg="mod">
          <ac:chgData name="Fatma Alsagaf" userId="ef587b5e-378a-4bb3-aa9f-3c15b98138a4" providerId="ADAL" clId="{C501D7D1-386F-4507-9267-B8938CF1C372}" dt="2023-10-10T08:48:41.819" v="546"/>
          <ac:spMkLst>
            <pc:docMk/>
            <pc:sldMk cId="2319192221" sldId="2147377171"/>
            <ac:spMk id="1035" creationId="{6FF2BF7A-5DB7-2C4C-B94E-C3460B7E0003}"/>
          </ac:spMkLst>
        </pc:spChg>
        <pc:spChg chg="add del mod">
          <ac:chgData name="Fatma Alsagaf" userId="ef587b5e-378a-4bb3-aa9f-3c15b98138a4" providerId="ADAL" clId="{C501D7D1-386F-4507-9267-B8938CF1C372}" dt="2023-10-10T08:55:06.219" v="590"/>
          <ac:spMkLst>
            <pc:docMk/>
            <pc:sldMk cId="2319192221" sldId="2147377171"/>
            <ac:spMk id="1036" creationId="{B6A356AC-53CA-530F-7F30-E6438652F69B}"/>
          </ac:spMkLst>
        </pc:spChg>
        <pc:spChg chg="add del mod">
          <ac:chgData name="Fatma Alsagaf" userId="ef587b5e-378a-4bb3-aa9f-3c15b98138a4" providerId="ADAL" clId="{C501D7D1-386F-4507-9267-B8938CF1C372}" dt="2023-10-10T10:10:12.808" v="613" actId="478"/>
          <ac:spMkLst>
            <pc:docMk/>
            <pc:sldMk cId="2319192221" sldId="2147377171"/>
            <ac:spMk id="1037" creationId="{7F902E59-8E94-97A1-E5A3-E36BF1FE8B6C}"/>
          </ac:spMkLst>
        </pc:spChg>
        <pc:spChg chg="mod">
          <ac:chgData name="Fatma Alsagaf" userId="ef587b5e-378a-4bb3-aa9f-3c15b98138a4" providerId="ADAL" clId="{C501D7D1-386F-4507-9267-B8938CF1C372}" dt="2023-10-10T08:55:08.084" v="591"/>
          <ac:spMkLst>
            <pc:docMk/>
            <pc:sldMk cId="2319192221" sldId="2147377171"/>
            <ac:spMk id="1039" creationId="{C35DA2D9-3BFC-FB94-060C-93854BD2EAB9}"/>
          </ac:spMkLst>
        </pc:spChg>
        <pc:spChg chg="mod">
          <ac:chgData name="Fatma Alsagaf" userId="ef587b5e-378a-4bb3-aa9f-3c15b98138a4" providerId="ADAL" clId="{C501D7D1-386F-4507-9267-B8938CF1C372}" dt="2023-10-10T08:55:08.084" v="591"/>
          <ac:spMkLst>
            <pc:docMk/>
            <pc:sldMk cId="2319192221" sldId="2147377171"/>
            <ac:spMk id="1040" creationId="{196FE659-547E-9A18-19E0-DC64D9771098}"/>
          </ac:spMkLst>
        </pc:spChg>
        <pc:spChg chg="add del mod">
          <ac:chgData name="Fatma Alsagaf" userId="ef587b5e-378a-4bb3-aa9f-3c15b98138a4" providerId="ADAL" clId="{C501D7D1-386F-4507-9267-B8938CF1C372}" dt="2023-10-10T10:10:12.808" v="613" actId="478"/>
          <ac:spMkLst>
            <pc:docMk/>
            <pc:sldMk cId="2319192221" sldId="2147377171"/>
            <ac:spMk id="1041" creationId="{77904A7A-6A9C-A860-D2CA-D63E9DF974BD}"/>
          </ac:spMkLst>
        </pc:spChg>
        <pc:spChg chg="mod">
          <ac:chgData name="Fatma Alsagaf" userId="ef587b5e-378a-4bb3-aa9f-3c15b98138a4" providerId="ADAL" clId="{C501D7D1-386F-4507-9267-B8938CF1C372}" dt="2023-10-10T08:55:13.746" v="593"/>
          <ac:spMkLst>
            <pc:docMk/>
            <pc:sldMk cId="2319192221" sldId="2147377171"/>
            <ac:spMk id="1043" creationId="{91555311-C6C3-C2CF-2DAC-2FC95B37FD89}"/>
          </ac:spMkLst>
        </pc:spChg>
        <pc:spChg chg="mod">
          <ac:chgData name="Fatma Alsagaf" userId="ef587b5e-378a-4bb3-aa9f-3c15b98138a4" providerId="ADAL" clId="{C501D7D1-386F-4507-9267-B8938CF1C372}" dt="2023-10-10T08:55:13.746" v="593"/>
          <ac:spMkLst>
            <pc:docMk/>
            <pc:sldMk cId="2319192221" sldId="2147377171"/>
            <ac:spMk id="1044" creationId="{50310E65-9616-5E58-BCD8-F7EC28C5598A}"/>
          </ac:spMkLst>
        </pc:spChg>
        <pc:spChg chg="add del mod">
          <ac:chgData name="Fatma Alsagaf" userId="ef587b5e-378a-4bb3-aa9f-3c15b98138a4" providerId="ADAL" clId="{C501D7D1-386F-4507-9267-B8938CF1C372}" dt="2023-10-10T10:13:51.933" v="615" actId="478"/>
          <ac:spMkLst>
            <pc:docMk/>
            <pc:sldMk cId="2319192221" sldId="2147377171"/>
            <ac:spMk id="1045" creationId="{28419378-E59B-A8A8-EB91-7FA6CA824E75}"/>
          </ac:spMkLst>
        </pc:spChg>
        <pc:spChg chg="del mod topLvl">
          <ac:chgData name="Fatma Alsagaf" userId="ef587b5e-378a-4bb3-aa9f-3c15b98138a4" providerId="ADAL" clId="{C501D7D1-386F-4507-9267-B8938CF1C372}" dt="2023-10-10T10:13:59.609" v="617" actId="478"/>
          <ac:spMkLst>
            <pc:docMk/>
            <pc:sldMk cId="2319192221" sldId="2147377171"/>
            <ac:spMk id="1047" creationId="{8D33A6B0-2EA1-59E2-CAEE-68C41A153F08}"/>
          </ac:spMkLst>
        </pc:spChg>
        <pc:spChg chg="del mod topLvl">
          <ac:chgData name="Fatma Alsagaf" userId="ef587b5e-378a-4bb3-aa9f-3c15b98138a4" providerId="ADAL" clId="{C501D7D1-386F-4507-9267-B8938CF1C372}" dt="2023-10-10T10:13:56.806" v="616" actId="478"/>
          <ac:spMkLst>
            <pc:docMk/>
            <pc:sldMk cId="2319192221" sldId="2147377171"/>
            <ac:spMk id="1048" creationId="{6883F283-5894-9E91-B6F9-28B637117E56}"/>
          </ac:spMkLst>
        </pc:spChg>
        <pc:spChg chg="add mod">
          <ac:chgData name="Fatma Alsagaf" userId="ef587b5e-378a-4bb3-aa9f-3c15b98138a4" providerId="ADAL" clId="{C501D7D1-386F-4507-9267-B8938CF1C372}" dt="2023-10-10T12:39:11.306" v="1395" actId="113"/>
          <ac:spMkLst>
            <pc:docMk/>
            <pc:sldMk cId="2319192221" sldId="2147377171"/>
            <ac:spMk id="1049" creationId="{5AF41FEA-994B-53BC-62B5-5376B3CE9B5D}"/>
          </ac:spMkLst>
        </pc:spChg>
        <pc:spChg chg="add mod">
          <ac:chgData name="Fatma Alsagaf" userId="ef587b5e-378a-4bb3-aa9f-3c15b98138a4" providerId="ADAL" clId="{C501D7D1-386F-4507-9267-B8938CF1C372}" dt="2023-10-10T12:41:01.340" v="1429" actId="20577"/>
          <ac:spMkLst>
            <pc:docMk/>
            <pc:sldMk cId="2319192221" sldId="2147377171"/>
            <ac:spMk id="1051" creationId="{A6244EAD-EA77-C62E-1A7F-F1172816BA50}"/>
          </ac:spMkLst>
        </pc:spChg>
        <pc:spChg chg="add del mod">
          <ac:chgData name="Fatma Alsagaf" userId="ef587b5e-378a-4bb3-aa9f-3c15b98138a4" providerId="ADAL" clId="{C501D7D1-386F-4507-9267-B8938CF1C372}" dt="2023-10-10T10:21:04.956" v="699" actId="478"/>
          <ac:spMkLst>
            <pc:docMk/>
            <pc:sldMk cId="2319192221" sldId="2147377171"/>
            <ac:spMk id="1053" creationId="{AE69CCBB-39E2-8573-49D5-258A0D55150F}"/>
          </ac:spMkLst>
        </pc:spChg>
        <pc:spChg chg="mod">
          <ac:chgData name="Fatma Alsagaf" userId="ef587b5e-378a-4bb3-aa9f-3c15b98138a4" providerId="ADAL" clId="{C501D7D1-386F-4507-9267-B8938CF1C372}" dt="2023-10-10T10:14:02.968" v="618"/>
          <ac:spMkLst>
            <pc:docMk/>
            <pc:sldMk cId="2319192221" sldId="2147377171"/>
            <ac:spMk id="1055" creationId="{F74D99AF-D0F1-A5F4-8FB8-6F023E7E8CBE}"/>
          </ac:spMkLst>
        </pc:spChg>
        <pc:spChg chg="mod">
          <ac:chgData name="Fatma Alsagaf" userId="ef587b5e-378a-4bb3-aa9f-3c15b98138a4" providerId="ADAL" clId="{C501D7D1-386F-4507-9267-B8938CF1C372}" dt="2023-10-10T10:17:35.743" v="645"/>
          <ac:spMkLst>
            <pc:docMk/>
            <pc:sldMk cId="2319192221" sldId="2147377171"/>
            <ac:spMk id="1056" creationId="{85B8540C-A53A-08C2-7C9F-E687CF47EA5C}"/>
          </ac:spMkLst>
        </pc:spChg>
        <pc:spChg chg="add del mod">
          <ac:chgData name="Fatma Alsagaf" userId="ef587b5e-378a-4bb3-aa9f-3c15b98138a4" providerId="ADAL" clId="{C501D7D1-386F-4507-9267-B8938CF1C372}" dt="2023-10-10T10:14:20.134" v="623"/>
          <ac:spMkLst>
            <pc:docMk/>
            <pc:sldMk cId="2319192221" sldId="2147377171"/>
            <ac:spMk id="1057" creationId="{CE9BDD76-1F2B-389A-5CF3-63060668F8AF}"/>
          </ac:spMkLst>
        </pc:spChg>
        <pc:spChg chg="mod">
          <ac:chgData name="Fatma Alsagaf" userId="ef587b5e-378a-4bb3-aa9f-3c15b98138a4" providerId="ADAL" clId="{C501D7D1-386F-4507-9267-B8938CF1C372}" dt="2023-10-10T10:14:14.052" v="620"/>
          <ac:spMkLst>
            <pc:docMk/>
            <pc:sldMk cId="2319192221" sldId="2147377171"/>
            <ac:spMk id="1059" creationId="{D6ACD303-E585-D8E8-976C-A578908E798F}"/>
          </ac:spMkLst>
        </pc:spChg>
        <pc:spChg chg="mod">
          <ac:chgData name="Fatma Alsagaf" userId="ef587b5e-378a-4bb3-aa9f-3c15b98138a4" providerId="ADAL" clId="{C501D7D1-386F-4507-9267-B8938CF1C372}" dt="2023-10-10T10:14:14.052" v="620"/>
          <ac:spMkLst>
            <pc:docMk/>
            <pc:sldMk cId="2319192221" sldId="2147377171"/>
            <ac:spMk id="1060" creationId="{AFBB88A5-E6FA-577A-7D6F-E92A09C1222E}"/>
          </ac:spMkLst>
        </pc:spChg>
        <pc:spChg chg="add del mod">
          <ac:chgData name="Fatma Alsagaf" userId="ef587b5e-378a-4bb3-aa9f-3c15b98138a4" providerId="ADAL" clId="{C501D7D1-386F-4507-9267-B8938CF1C372}" dt="2023-10-10T10:21:13.456" v="703" actId="478"/>
          <ac:spMkLst>
            <pc:docMk/>
            <pc:sldMk cId="2319192221" sldId="2147377171"/>
            <ac:spMk id="1061" creationId="{2EBB7235-CC99-CF51-0A4F-D2002DFD869A}"/>
          </ac:spMkLst>
        </pc:spChg>
        <pc:spChg chg="del mod topLvl">
          <ac:chgData name="Fatma Alsagaf" userId="ef587b5e-378a-4bb3-aa9f-3c15b98138a4" providerId="ADAL" clId="{C501D7D1-386F-4507-9267-B8938CF1C372}" dt="2023-10-10T10:21:09.852" v="701" actId="478"/>
          <ac:spMkLst>
            <pc:docMk/>
            <pc:sldMk cId="2319192221" sldId="2147377171"/>
            <ac:spMk id="1063" creationId="{D87D6100-3748-6557-0872-043B5DE229B5}"/>
          </ac:spMkLst>
        </pc:spChg>
        <pc:spChg chg="del mod topLvl">
          <ac:chgData name="Fatma Alsagaf" userId="ef587b5e-378a-4bb3-aa9f-3c15b98138a4" providerId="ADAL" clId="{C501D7D1-386F-4507-9267-B8938CF1C372}" dt="2023-10-10T10:21:12.168" v="702" actId="478"/>
          <ac:spMkLst>
            <pc:docMk/>
            <pc:sldMk cId="2319192221" sldId="2147377171"/>
            <ac:spMk id="1064" creationId="{74982352-B918-006C-2565-5B7C04B9F6A5}"/>
          </ac:spMkLst>
        </pc:spChg>
        <pc:spChg chg="add del mod">
          <ac:chgData name="Fatma Alsagaf" userId="ef587b5e-378a-4bb3-aa9f-3c15b98138a4" providerId="ADAL" clId="{C501D7D1-386F-4507-9267-B8938CF1C372}" dt="2023-10-10T10:36:17.610" v="894" actId="478"/>
          <ac:spMkLst>
            <pc:docMk/>
            <pc:sldMk cId="2319192221" sldId="2147377171"/>
            <ac:spMk id="1065" creationId="{6C9A4EC9-13E5-1594-6417-03E33F291C82}"/>
          </ac:spMkLst>
        </pc:spChg>
        <pc:spChg chg="mod">
          <ac:chgData name="Fatma Alsagaf" userId="ef587b5e-378a-4bb3-aa9f-3c15b98138a4" providerId="ADAL" clId="{C501D7D1-386F-4507-9267-B8938CF1C372}" dt="2023-10-10T10:29:05.490" v="798" actId="207"/>
          <ac:spMkLst>
            <pc:docMk/>
            <pc:sldMk cId="2319192221" sldId="2147377171"/>
            <ac:spMk id="1067" creationId="{5D3F28A7-5112-52EF-F7C3-400C7710561B}"/>
          </ac:spMkLst>
        </pc:spChg>
        <pc:spChg chg="mod">
          <ac:chgData name="Fatma Alsagaf" userId="ef587b5e-378a-4bb3-aa9f-3c15b98138a4" providerId="ADAL" clId="{C501D7D1-386F-4507-9267-B8938CF1C372}" dt="2023-10-10T10:28:17.203" v="786"/>
          <ac:spMkLst>
            <pc:docMk/>
            <pc:sldMk cId="2319192221" sldId="2147377171"/>
            <ac:spMk id="1068" creationId="{70B7D8AD-47F2-09EF-0100-AFA429C920DF}"/>
          </ac:spMkLst>
        </pc:spChg>
        <pc:spChg chg="add del mod">
          <ac:chgData name="Fatma Alsagaf" userId="ef587b5e-378a-4bb3-aa9f-3c15b98138a4" providerId="ADAL" clId="{C501D7D1-386F-4507-9267-B8938CF1C372}" dt="2023-10-10T10:36:23.856" v="896" actId="478"/>
          <ac:spMkLst>
            <pc:docMk/>
            <pc:sldMk cId="2319192221" sldId="2147377171"/>
            <ac:spMk id="1069" creationId="{140CCB91-31A5-C388-59D2-38461FAF00E9}"/>
          </ac:spMkLst>
        </pc:spChg>
        <pc:spChg chg="mod">
          <ac:chgData name="Fatma Alsagaf" userId="ef587b5e-378a-4bb3-aa9f-3c15b98138a4" providerId="ADAL" clId="{C501D7D1-386F-4507-9267-B8938CF1C372}" dt="2023-10-10T10:30:10.511" v="812" actId="207"/>
          <ac:spMkLst>
            <pc:docMk/>
            <pc:sldMk cId="2319192221" sldId="2147377171"/>
            <ac:spMk id="1071" creationId="{B5DBD302-09D9-FEB7-6D28-374C329A339C}"/>
          </ac:spMkLst>
        </pc:spChg>
        <pc:spChg chg="mod">
          <ac:chgData name="Fatma Alsagaf" userId="ef587b5e-378a-4bb3-aa9f-3c15b98138a4" providerId="ADAL" clId="{C501D7D1-386F-4507-9267-B8938CF1C372}" dt="2023-10-10T10:28:26.313" v="787"/>
          <ac:spMkLst>
            <pc:docMk/>
            <pc:sldMk cId="2319192221" sldId="2147377171"/>
            <ac:spMk id="1072" creationId="{0134D463-16B0-895A-A618-6F876571971C}"/>
          </ac:spMkLst>
        </pc:spChg>
        <pc:spChg chg="add del mod">
          <ac:chgData name="Fatma Alsagaf" userId="ef587b5e-378a-4bb3-aa9f-3c15b98138a4" providerId="ADAL" clId="{C501D7D1-386F-4507-9267-B8938CF1C372}" dt="2023-10-10T10:36:14.877" v="893" actId="478"/>
          <ac:spMkLst>
            <pc:docMk/>
            <pc:sldMk cId="2319192221" sldId="2147377171"/>
            <ac:spMk id="1073" creationId="{2F7C5EBE-2C37-8B56-E009-8D019878FE75}"/>
          </ac:spMkLst>
        </pc:spChg>
        <pc:spChg chg="mod">
          <ac:chgData name="Fatma Alsagaf" userId="ef587b5e-378a-4bb3-aa9f-3c15b98138a4" providerId="ADAL" clId="{C501D7D1-386F-4507-9267-B8938CF1C372}" dt="2023-10-10T10:27:29.088" v="782"/>
          <ac:spMkLst>
            <pc:docMk/>
            <pc:sldMk cId="2319192221" sldId="2147377171"/>
            <ac:spMk id="1075" creationId="{62A13FDC-4413-A771-B658-4658EE444E6D}"/>
          </ac:spMkLst>
        </pc:spChg>
        <pc:spChg chg="mod">
          <ac:chgData name="Fatma Alsagaf" userId="ef587b5e-378a-4bb3-aa9f-3c15b98138a4" providerId="ADAL" clId="{C501D7D1-386F-4507-9267-B8938CF1C372}" dt="2023-10-10T10:28:35.162" v="789"/>
          <ac:spMkLst>
            <pc:docMk/>
            <pc:sldMk cId="2319192221" sldId="2147377171"/>
            <ac:spMk id="1076" creationId="{ACBB76C2-20BB-231D-6D01-B5C367AD1A63}"/>
          </ac:spMkLst>
        </pc:spChg>
        <pc:spChg chg="add mod">
          <ac:chgData name="Fatma Alsagaf" userId="ef587b5e-378a-4bb3-aa9f-3c15b98138a4" providerId="ADAL" clId="{C501D7D1-386F-4507-9267-B8938CF1C372}" dt="2023-10-10T10:36:02.524" v="891" actId="164"/>
          <ac:spMkLst>
            <pc:docMk/>
            <pc:sldMk cId="2319192221" sldId="2147377171"/>
            <ac:spMk id="1077" creationId="{D5722521-E517-65A5-74E4-4AB2C6752721}"/>
          </ac:spMkLst>
        </pc:spChg>
        <pc:spChg chg="mod">
          <ac:chgData name="Fatma Alsagaf" userId="ef587b5e-378a-4bb3-aa9f-3c15b98138a4" providerId="ADAL" clId="{C501D7D1-386F-4507-9267-B8938CF1C372}" dt="2023-10-10T10:36:29.879" v="897"/>
          <ac:spMkLst>
            <pc:docMk/>
            <pc:sldMk cId="2319192221" sldId="2147377171"/>
            <ac:spMk id="1080" creationId="{ECCFF116-6A3A-24EF-5007-462234069680}"/>
          </ac:spMkLst>
        </pc:spChg>
        <pc:spChg chg="mod">
          <ac:chgData name="Fatma Alsagaf" userId="ef587b5e-378a-4bb3-aa9f-3c15b98138a4" providerId="ADAL" clId="{C501D7D1-386F-4507-9267-B8938CF1C372}" dt="2023-10-10T10:38:42.869" v="914" actId="20577"/>
          <ac:spMkLst>
            <pc:docMk/>
            <pc:sldMk cId="2319192221" sldId="2147377171"/>
            <ac:spMk id="1082" creationId="{2587DA04-FFA5-AF7C-07AB-DBBB583C1D39}"/>
          </ac:spMkLst>
        </pc:spChg>
        <pc:spChg chg="mod">
          <ac:chgData name="Fatma Alsagaf" userId="ef587b5e-378a-4bb3-aa9f-3c15b98138a4" providerId="ADAL" clId="{C501D7D1-386F-4507-9267-B8938CF1C372}" dt="2023-10-10T10:38:37.298" v="909" actId="20577"/>
          <ac:spMkLst>
            <pc:docMk/>
            <pc:sldMk cId="2319192221" sldId="2147377171"/>
            <ac:spMk id="1083" creationId="{862F02DD-27E0-A459-E905-00F9662DD09C}"/>
          </ac:spMkLst>
        </pc:spChg>
        <pc:spChg chg="mod">
          <ac:chgData name="Fatma Alsagaf" userId="ef587b5e-378a-4bb3-aa9f-3c15b98138a4" providerId="ADAL" clId="{C501D7D1-386F-4507-9267-B8938CF1C372}" dt="2023-10-10T10:38:53.926" v="915"/>
          <ac:spMkLst>
            <pc:docMk/>
            <pc:sldMk cId="2319192221" sldId="2147377171"/>
            <ac:spMk id="1084" creationId="{CE4232B1-715F-8F90-23C2-9EEF71ACCBF6}"/>
          </ac:spMkLst>
        </pc:spChg>
        <pc:spChg chg="mod">
          <ac:chgData name="Fatma Alsagaf" userId="ef587b5e-378a-4bb3-aa9f-3c15b98138a4" providerId="ADAL" clId="{C501D7D1-386F-4507-9267-B8938CF1C372}" dt="2023-10-10T10:36:44.493" v="899"/>
          <ac:spMkLst>
            <pc:docMk/>
            <pc:sldMk cId="2319192221" sldId="2147377171"/>
            <ac:spMk id="1086" creationId="{28E9D031-894F-6C20-D478-54AEE7CD6E12}"/>
          </ac:spMkLst>
        </pc:spChg>
        <pc:spChg chg="add del mod">
          <ac:chgData name="Fatma Alsagaf" userId="ef587b5e-378a-4bb3-aa9f-3c15b98138a4" providerId="ADAL" clId="{C501D7D1-386F-4507-9267-B8938CF1C372}" dt="2023-10-10T10:54:45.797" v="980"/>
          <ac:spMkLst>
            <pc:docMk/>
            <pc:sldMk cId="2319192221" sldId="2147377171"/>
            <ac:spMk id="1088" creationId="{842F4FC8-867D-CBFB-8D61-34DCA8F78240}"/>
          </ac:spMkLst>
        </pc:spChg>
        <pc:spChg chg="add del mod">
          <ac:chgData name="Fatma Alsagaf" userId="ef587b5e-378a-4bb3-aa9f-3c15b98138a4" providerId="ADAL" clId="{C501D7D1-386F-4507-9267-B8938CF1C372}" dt="2023-10-10T10:54:45.797" v="980"/>
          <ac:spMkLst>
            <pc:docMk/>
            <pc:sldMk cId="2319192221" sldId="2147377171"/>
            <ac:spMk id="1089" creationId="{22D81DC2-5DD6-4DD9-1393-F88009910FF3}"/>
          </ac:spMkLst>
        </pc:spChg>
        <pc:spChg chg="add del mod">
          <ac:chgData name="Fatma Alsagaf" userId="ef587b5e-378a-4bb3-aa9f-3c15b98138a4" providerId="ADAL" clId="{C501D7D1-386F-4507-9267-B8938CF1C372}" dt="2023-10-10T10:54:45.797" v="980"/>
          <ac:spMkLst>
            <pc:docMk/>
            <pc:sldMk cId="2319192221" sldId="2147377171"/>
            <ac:spMk id="1090" creationId="{6AEFA93B-CFC1-CD99-2C77-7B062C2F132C}"/>
          </ac:spMkLst>
        </pc:spChg>
        <pc:spChg chg="add del mod">
          <ac:chgData name="Fatma Alsagaf" userId="ef587b5e-378a-4bb3-aa9f-3c15b98138a4" providerId="ADAL" clId="{C501D7D1-386F-4507-9267-B8938CF1C372}" dt="2023-10-10T10:54:45.797" v="980"/>
          <ac:spMkLst>
            <pc:docMk/>
            <pc:sldMk cId="2319192221" sldId="2147377171"/>
            <ac:spMk id="1091" creationId="{BB406392-51C9-EA59-4F1F-0FB7282FAFB2}"/>
          </ac:spMkLst>
        </pc:spChg>
        <pc:spChg chg="add del mod">
          <ac:chgData name="Fatma Alsagaf" userId="ef587b5e-378a-4bb3-aa9f-3c15b98138a4" providerId="ADAL" clId="{C501D7D1-386F-4507-9267-B8938CF1C372}" dt="2023-10-10T10:54:53.370" v="985"/>
          <ac:spMkLst>
            <pc:docMk/>
            <pc:sldMk cId="2319192221" sldId="2147377171"/>
            <ac:spMk id="1093" creationId="{66523876-CADE-4244-C5CB-E7EAB7244F22}"/>
          </ac:spMkLst>
        </pc:spChg>
        <pc:spChg chg="add del mod">
          <ac:chgData name="Fatma Alsagaf" userId="ef587b5e-378a-4bb3-aa9f-3c15b98138a4" providerId="ADAL" clId="{C501D7D1-386F-4507-9267-B8938CF1C372}" dt="2023-10-10T10:54:53.370" v="985"/>
          <ac:spMkLst>
            <pc:docMk/>
            <pc:sldMk cId="2319192221" sldId="2147377171"/>
            <ac:spMk id="1094" creationId="{DD1306BD-275A-C913-919F-DEE406B883CC}"/>
          </ac:spMkLst>
        </pc:spChg>
        <pc:spChg chg="add del mod">
          <ac:chgData name="Fatma Alsagaf" userId="ef587b5e-378a-4bb3-aa9f-3c15b98138a4" providerId="ADAL" clId="{C501D7D1-386F-4507-9267-B8938CF1C372}" dt="2023-10-10T10:54:53.370" v="985"/>
          <ac:spMkLst>
            <pc:docMk/>
            <pc:sldMk cId="2319192221" sldId="2147377171"/>
            <ac:spMk id="1095" creationId="{772CBD5D-E1F3-FCFB-484C-C51E5C998017}"/>
          </ac:spMkLst>
        </pc:spChg>
        <pc:spChg chg="add del mod">
          <ac:chgData name="Fatma Alsagaf" userId="ef587b5e-378a-4bb3-aa9f-3c15b98138a4" providerId="ADAL" clId="{C501D7D1-386F-4507-9267-B8938CF1C372}" dt="2023-10-10T10:54:53.370" v="985"/>
          <ac:spMkLst>
            <pc:docMk/>
            <pc:sldMk cId="2319192221" sldId="2147377171"/>
            <ac:spMk id="1096" creationId="{F3B829ED-39C7-A0E6-1A69-51FB50AE4396}"/>
          </ac:spMkLst>
        </pc:spChg>
        <pc:spChg chg="add del mod">
          <ac:chgData name="Fatma Alsagaf" userId="ef587b5e-378a-4bb3-aa9f-3c15b98138a4" providerId="ADAL" clId="{C501D7D1-386F-4507-9267-B8938CF1C372}" dt="2023-10-10T10:54:53.370" v="985"/>
          <ac:spMkLst>
            <pc:docMk/>
            <pc:sldMk cId="2319192221" sldId="2147377171"/>
            <ac:spMk id="1097" creationId="{59086760-A482-4CC6-466C-03384787E842}"/>
          </ac:spMkLst>
        </pc:spChg>
        <pc:spChg chg="add del mod">
          <ac:chgData name="Fatma Alsagaf" userId="ef587b5e-378a-4bb3-aa9f-3c15b98138a4" providerId="ADAL" clId="{C501D7D1-386F-4507-9267-B8938CF1C372}" dt="2023-10-10T10:54:53.370" v="985"/>
          <ac:spMkLst>
            <pc:docMk/>
            <pc:sldMk cId="2319192221" sldId="2147377171"/>
            <ac:spMk id="1098" creationId="{5187F43D-E49B-9E61-E521-699F3EDEADFD}"/>
          </ac:spMkLst>
        </pc:spChg>
        <pc:spChg chg="add del mod">
          <ac:chgData name="Fatma Alsagaf" userId="ef587b5e-378a-4bb3-aa9f-3c15b98138a4" providerId="ADAL" clId="{C501D7D1-386F-4507-9267-B8938CF1C372}" dt="2023-10-10T10:57:47.973" v="987"/>
          <ac:spMkLst>
            <pc:docMk/>
            <pc:sldMk cId="2319192221" sldId="2147377171"/>
            <ac:spMk id="1100" creationId="{661F7EBD-D7E3-C168-02D2-921AEB61C461}"/>
          </ac:spMkLst>
        </pc:spChg>
        <pc:spChg chg="add del mod">
          <ac:chgData name="Fatma Alsagaf" userId="ef587b5e-378a-4bb3-aa9f-3c15b98138a4" providerId="ADAL" clId="{C501D7D1-386F-4507-9267-B8938CF1C372}" dt="2023-10-10T10:57:47.973" v="987"/>
          <ac:spMkLst>
            <pc:docMk/>
            <pc:sldMk cId="2319192221" sldId="2147377171"/>
            <ac:spMk id="1101" creationId="{BEEDC3DC-54B3-E1B8-4885-74EF3A94DE83}"/>
          </ac:spMkLst>
        </pc:spChg>
        <pc:spChg chg="mod">
          <ac:chgData name="Fatma Alsagaf" userId="ef587b5e-378a-4bb3-aa9f-3c15b98138a4" providerId="ADAL" clId="{C501D7D1-386F-4507-9267-B8938CF1C372}" dt="2023-10-10T10:57:40.072" v="986"/>
          <ac:spMkLst>
            <pc:docMk/>
            <pc:sldMk cId="2319192221" sldId="2147377171"/>
            <ac:spMk id="1103" creationId="{A98FB12A-A9EB-2C7F-B2AE-CEE972BCFE65}"/>
          </ac:spMkLst>
        </pc:spChg>
        <pc:spChg chg="mod">
          <ac:chgData name="Fatma Alsagaf" userId="ef587b5e-378a-4bb3-aa9f-3c15b98138a4" providerId="ADAL" clId="{C501D7D1-386F-4507-9267-B8938CF1C372}" dt="2023-10-10T10:57:40.072" v="986"/>
          <ac:spMkLst>
            <pc:docMk/>
            <pc:sldMk cId="2319192221" sldId="2147377171"/>
            <ac:spMk id="1104" creationId="{3B643923-0DC8-0805-F9FC-7878C166C171}"/>
          </ac:spMkLst>
        </pc:spChg>
        <pc:spChg chg="add del mod">
          <ac:chgData name="Fatma Alsagaf" userId="ef587b5e-378a-4bb3-aa9f-3c15b98138a4" providerId="ADAL" clId="{C501D7D1-386F-4507-9267-B8938CF1C372}" dt="2023-10-10T10:57:47.973" v="987"/>
          <ac:spMkLst>
            <pc:docMk/>
            <pc:sldMk cId="2319192221" sldId="2147377171"/>
            <ac:spMk id="1105" creationId="{2DF40FFD-EF17-7448-A075-37E6DEA3D05C}"/>
          </ac:spMkLst>
        </pc:spChg>
        <pc:spChg chg="add del mod">
          <ac:chgData name="Fatma Alsagaf" userId="ef587b5e-378a-4bb3-aa9f-3c15b98138a4" providerId="ADAL" clId="{C501D7D1-386F-4507-9267-B8938CF1C372}" dt="2023-10-10T10:57:47.973" v="987"/>
          <ac:spMkLst>
            <pc:docMk/>
            <pc:sldMk cId="2319192221" sldId="2147377171"/>
            <ac:spMk id="1106" creationId="{0A20742C-519F-81B2-6CB6-8DFE7593959A}"/>
          </ac:spMkLst>
        </pc:spChg>
        <pc:spChg chg="add mod">
          <ac:chgData name="Fatma Alsagaf" userId="ef587b5e-378a-4bb3-aa9f-3c15b98138a4" providerId="ADAL" clId="{C501D7D1-386F-4507-9267-B8938CF1C372}" dt="2023-10-10T10:57:53.517" v="989" actId="164"/>
          <ac:spMkLst>
            <pc:docMk/>
            <pc:sldMk cId="2319192221" sldId="2147377171"/>
            <ac:spMk id="1108" creationId="{88867A87-1D1C-FED3-5D7A-AFF44579E41E}"/>
          </ac:spMkLst>
        </pc:spChg>
        <pc:spChg chg="add mod">
          <ac:chgData name="Fatma Alsagaf" userId="ef587b5e-378a-4bb3-aa9f-3c15b98138a4" providerId="ADAL" clId="{C501D7D1-386F-4507-9267-B8938CF1C372}" dt="2023-10-10T10:57:53.517" v="989" actId="164"/>
          <ac:spMkLst>
            <pc:docMk/>
            <pc:sldMk cId="2319192221" sldId="2147377171"/>
            <ac:spMk id="1109" creationId="{52835C34-5685-FFD0-2491-6A52FE7AB5EE}"/>
          </ac:spMkLst>
        </pc:spChg>
        <pc:spChg chg="mod">
          <ac:chgData name="Fatma Alsagaf" userId="ef587b5e-378a-4bb3-aa9f-3c15b98138a4" providerId="ADAL" clId="{C501D7D1-386F-4507-9267-B8938CF1C372}" dt="2023-10-10T10:57:47.992" v="988"/>
          <ac:spMkLst>
            <pc:docMk/>
            <pc:sldMk cId="2319192221" sldId="2147377171"/>
            <ac:spMk id="1111" creationId="{6E27E7F1-8E6C-5981-765A-4570A92DB554}"/>
          </ac:spMkLst>
        </pc:spChg>
        <pc:spChg chg="mod">
          <ac:chgData name="Fatma Alsagaf" userId="ef587b5e-378a-4bb3-aa9f-3c15b98138a4" providerId="ADAL" clId="{C501D7D1-386F-4507-9267-B8938CF1C372}" dt="2023-10-10T10:57:47.992" v="988"/>
          <ac:spMkLst>
            <pc:docMk/>
            <pc:sldMk cId="2319192221" sldId="2147377171"/>
            <ac:spMk id="1112" creationId="{B5DA2F51-7981-EB55-9C0E-C04EEC6D44AC}"/>
          </ac:spMkLst>
        </pc:spChg>
        <pc:spChg chg="add mod">
          <ac:chgData name="Fatma Alsagaf" userId="ef587b5e-378a-4bb3-aa9f-3c15b98138a4" providerId="ADAL" clId="{C501D7D1-386F-4507-9267-B8938CF1C372}" dt="2023-10-10T10:57:53.517" v="989" actId="164"/>
          <ac:spMkLst>
            <pc:docMk/>
            <pc:sldMk cId="2319192221" sldId="2147377171"/>
            <ac:spMk id="1113" creationId="{9E1A93D7-CCE9-CAB2-B024-539834FD66A9}"/>
          </ac:spMkLst>
        </pc:spChg>
        <pc:spChg chg="add mod">
          <ac:chgData name="Fatma Alsagaf" userId="ef587b5e-378a-4bb3-aa9f-3c15b98138a4" providerId="ADAL" clId="{C501D7D1-386F-4507-9267-B8938CF1C372}" dt="2023-10-10T10:57:53.517" v="989" actId="164"/>
          <ac:spMkLst>
            <pc:docMk/>
            <pc:sldMk cId="2319192221" sldId="2147377171"/>
            <ac:spMk id="1114" creationId="{CD619D2E-9542-9C52-EF64-B0E9A47303A2}"/>
          </ac:spMkLst>
        </pc:spChg>
        <pc:spChg chg="mod">
          <ac:chgData name="Fatma Alsagaf" userId="ef587b5e-378a-4bb3-aa9f-3c15b98138a4" providerId="ADAL" clId="{C501D7D1-386F-4507-9267-B8938CF1C372}" dt="2023-10-10T11:02:40.760" v="993"/>
          <ac:spMkLst>
            <pc:docMk/>
            <pc:sldMk cId="2319192221" sldId="2147377171"/>
            <ac:spMk id="1118" creationId="{D428DF54-FA3B-F4E6-0761-3FBE1A12AF31}"/>
          </ac:spMkLst>
        </pc:spChg>
        <pc:spChg chg="mod">
          <ac:chgData name="Fatma Alsagaf" userId="ef587b5e-378a-4bb3-aa9f-3c15b98138a4" providerId="ADAL" clId="{C501D7D1-386F-4507-9267-B8938CF1C372}" dt="2023-10-10T11:02:40.760" v="993"/>
          <ac:spMkLst>
            <pc:docMk/>
            <pc:sldMk cId="2319192221" sldId="2147377171"/>
            <ac:spMk id="1119" creationId="{98A63942-6214-AED6-4351-5899708D4FC9}"/>
          </ac:spMkLst>
        </pc:spChg>
        <pc:spChg chg="mod">
          <ac:chgData name="Fatma Alsagaf" userId="ef587b5e-378a-4bb3-aa9f-3c15b98138a4" providerId="ADAL" clId="{C501D7D1-386F-4507-9267-B8938CF1C372}" dt="2023-10-10T11:02:40.760" v="993"/>
          <ac:spMkLst>
            <pc:docMk/>
            <pc:sldMk cId="2319192221" sldId="2147377171"/>
            <ac:spMk id="1120" creationId="{A3FB545C-E86C-573D-786F-744D34CD2E0D}"/>
          </ac:spMkLst>
        </pc:spChg>
        <pc:spChg chg="mod">
          <ac:chgData name="Fatma Alsagaf" userId="ef587b5e-378a-4bb3-aa9f-3c15b98138a4" providerId="ADAL" clId="{C501D7D1-386F-4507-9267-B8938CF1C372}" dt="2023-10-10T11:02:40.760" v="993"/>
          <ac:spMkLst>
            <pc:docMk/>
            <pc:sldMk cId="2319192221" sldId="2147377171"/>
            <ac:spMk id="1121" creationId="{4FC4EEB9-3094-19A6-54B1-8049E106DC79}"/>
          </ac:spMkLst>
        </pc:spChg>
        <pc:spChg chg="mod">
          <ac:chgData name="Fatma Alsagaf" userId="ef587b5e-378a-4bb3-aa9f-3c15b98138a4" providerId="ADAL" clId="{C501D7D1-386F-4507-9267-B8938CF1C372}" dt="2023-10-10T11:02:40.760" v="993"/>
          <ac:spMkLst>
            <pc:docMk/>
            <pc:sldMk cId="2319192221" sldId="2147377171"/>
            <ac:spMk id="1122" creationId="{64AA9C8D-ACDB-312D-8837-B4B029125670}"/>
          </ac:spMkLst>
        </pc:spChg>
        <pc:spChg chg="mod">
          <ac:chgData name="Fatma Alsagaf" userId="ef587b5e-378a-4bb3-aa9f-3c15b98138a4" providerId="ADAL" clId="{C501D7D1-386F-4507-9267-B8938CF1C372}" dt="2023-10-10T11:07:41.635" v="995"/>
          <ac:spMkLst>
            <pc:docMk/>
            <pc:sldMk cId="2319192221" sldId="2147377171"/>
            <ac:spMk id="1124" creationId="{04F39BCF-0FA4-6703-F801-9E2E974BBFB1}"/>
          </ac:spMkLst>
        </pc:spChg>
        <pc:spChg chg="mod">
          <ac:chgData name="Fatma Alsagaf" userId="ef587b5e-378a-4bb3-aa9f-3c15b98138a4" providerId="ADAL" clId="{C501D7D1-386F-4507-9267-B8938CF1C372}" dt="2023-10-10T11:07:41.635" v="995"/>
          <ac:spMkLst>
            <pc:docMk/>
            <pc:sldMk cId="2319192221" sldId="2147377171"/>
            <ac:spMk id="1125" creationId="{7CFDBEB0-94B6-6A66-1159-E334D249BF99}"/>
          </ac:spMkLst>
        </pc:spChg>
        <pc:spChg chg="mod">
          <ac:chgData name="Fatma Alsagaf" userId="ef587b5e-378a-4bb3-aa9f-3c15b98138a4" providerId="ADAL" clId="{C501D7D1-386F-4507-9267-B8938CF1C372}" dt="2023-10-10T11:07:41.635" v="995"/>
          <ac:spMkLst>
            <pc:docMk/>
            <pc:sldMk cId="2319192221" sldId="2147377171"/>
            <ac:spMk id="1126" creationId="{60ACB9AA-CE62-9662-6B6E-5589FECF38EC}"/>
          </ac:spMkLst>
        </pc:spChg>
        <pc:spChg chg="mod">
          <ac:chgData name="Fatma Alsagaf" userId="ef587b5e-378a-4bb3-aa9f-3c15b98138a4" providerId="ADAL" clId="{C501D7D1-386F-4507-9267-B8938CF1C372}" dt="2023-10-10T11:07:41.635" v="995"/>
          <ac:spMkLst>
            <pc:docMk/>
            <pc:sldMk cId="2319192221" sldId="2147377171"/>
            <ac:spMk id="1127" creationId="{84DBE126-6964-EA63-07A5-501ACCDA37D4}"/>
          </ac:spMkLst>
        </pc:spChg>
        <pc:spChg chg="mod">
          <ac:chgData name="Fatma Alsagaf" userId="ef587b5e-378a-4bb3-aa9f-3c15b98138a4" providerId="ADAL" clId="{C501D7D1-386F-4507-9267-B8938CF1C372}" dt="2023-10-10T11:07:41.635" v="995"/>
          <ac:spMkLst>
            <pc:docMk/>
            <pc:sldMk cId="2319192221" sldId="2147377171"/>
            <ac:spMk id="1128" creationId="{7236D3EC-E52A-0628-C3D8-6ACBF3E12900}"/>
          </ac:spMkLst>
        </pc:spChg>
        <pc:spChg chg="mod">
          <ac:chgData name="Fatma Alsagaf" userId="ef587b5e-378a-4bb3-aa9f-3c15b98138a4" providerId="ADAL" clId="{C501D7D1-386F-4507-9267-B8938CF1C372}" dt="2023-10-10T11:08:13.406" v="999"/>
          <ac:spMkLst>
            <pc:docMk/>
            <pc:sldMk cId="2319192221" sldId="2147377171"/>
            <ac:spMk id="1130" creationId="{F494DAE1-DD7C-9844-D7E1-0903F1ACEC0B}"/>
          </ac:spMkLst>
        </pc:spChg>
        <pc:spChg chg="mod">
          <ac:chgData name="Fatma Alsagaf" userId="ef587b5e-378a-4bb3-aa9f-3c15b98138a4" providerId="ADAL" clId="{C501D7D1-386F-4507-9267-B8938CF1C372}" dt="2023-10-10T11:08:13.406" v="999"/>
          <ac:spMkLst>
            <pc:docMk/>
            <pc:sldMk cId="2319192221" sldId="2147377171"/>
            <ac:spMk id="1131" creationId="{A8B684C0-824C-01D6-EC66-408BAC03DB75}"/>
          </ac:spMkLst>
        </pc:spChg>
        <pc:spChg chg="mod">
          <ac:chgData name="Fatma Alsagaf" userId="ef587b5e-378a-4bb3-aa9f-3c15b98138a4" providerId="ADAL" clId="{C501D7D1-386F-4507-9267-B8938CF1C372}" dt="2023-10-10T11:08:13.406" v="999"/>
          <ac:spMkLst>
            <pc:docMk/>
            <pc:sldMk cId="2319192221" sldId="2147377171"/>
            <ac:spMk id="1132" creationId="{259EA31A-0070-D4AD-7233-75B39F10DB5A}"/>
          </ac:spMkLst>
        </pc:spChg>
        <pc:spChg chg="mod">
          <ac:chgData name="Fatma Alsagaf" userId="ef587b5e-378a-4bb3-aa9f-3c15b98138a4" providerId="ADAL" clId="{C501D7D1-386F-4507-9267-B8938CF1C372}" dt="2023-10-10T11:08:51.111" v="1006" actId="1076"/>
          <ac:spMkLst>
            <pc:docMk/>
            <pc:sldMk cId="2319192221" sldId="2147377171"/>
            <ac:spMk id="1133" creationId="{FC87A157-BEC1-4801-70B4-0B368DB7F8CE}"/>
          </ac:spMkLst>
        </pc:spChg>
        <pc:spChg chg="mod">
          <ac:chgData name="Fatma Alsagaf" userId="ef587b5e-378a-4bb3-aa9f-3c15b98138a4" providerId="ADAL" clId="{C501D7D1-386F-4507-9267-B8938CF1C372}" dt="2023-10-10T11:08:13.406" v="999"/>
          <ac:spMkLst>
            <pc:docMk/>
            <pc:sldMk cId="2319192221" sldId="2147377171"/>
            <ac:spMk id="1134" creationId="{26F323D0-53B9-8D42-B2F8-0F2300C8C30F}"/>
          </ac:spMkLst>
        </pc:spChg>
        <pc:spChg chg="del mod">
          <ac:chgData name="Fatma Alsagaf" userId="ef587b5e-378a-4bb3-aa9f-3c15b98138a4" providerId="ADAL" clId="{C501D7D1-386F-4507-9267-B8938CF1C372}" dt="2023-10-10T11:14:12.807" v="1043" actId="478"/>
          <ac:spMkLst>
            <pc:docMk/>
            <pc:sldMk cId="2319192221" sldId="2147377171"/>
            <ac:spMk id="1136" creationId="{0228FA2C-4977-2A70-B5D3-27FD401FAAE3}"/>
          </ac:spMkLst>
        </pc:spChg>
        <pc:spChg chg="mod">
          <ac:chgData name="Fatma Alsagaf" userId="ef587b5e-378a-4bb3-aa9f-3c15b98138a4" providerId="ADAL" clId="{C501D7D1-386F-4507-9267-B8938CF1C372}" dt="2023-10-10T11:15:57.351" v="1063" actId="14100"/>
          <ac:spMkLst>
            <pc:docMk/>
            <pc:sldMk cId="2319192221" sldId="2147377171"/>
            <ac:spMk id="1137" creationId="{C96E4711-888D-A7A7-9800-4796F92856A4}"/>
          </ac:spMkLst>
        </pc:spChg>
        <pc:spChg chg="mod">
          <ac:chgData name="Fatma Alsagaf" userId="ef587b5e-378a-4bb3-aa9f-3c15b98138a4" providerId="ADAL" clId="{C501D7D1-386F-4507-9267-B8938CF1C372}" dt="2023-10-10T11:15:40.828" v="1059" actId="1076"/>
          <ac:spMkLst>
            <pc:docMk/>
            <pc:sldMk cId="2319192221" sldId="2147377171"/>
            <ac:spMk id="1138" creationId="{1AAFD6EB-98AD-0EBA-D7C6-5CAEBE6B66EC}"/>
          </ac:spMkLst>
        </pc:spChg>
        <pc:spChg chg="mod">
          <ac:chgData name="Fatma Alsagaf" userId="ef587b5e-378a-4bb3-aa9f-3c15b98138a4" providerId="ADAL" clId="{C501D7D1-386F-4507-9267-B8938CF1C372}" dt="2023-10-10T11:15:45.567" v="1060" actId="1076"/>
          <ac:spMkLst>
            <pc:docMk/>
            <pc:sldMk cId="2319192221" sldId="2147377171"/>
            <ac:spMk id="1139" creationId="{BEF8CFB2-5931-56B8-AAE1-B8D0DA40AACA}"/>
          </ac:spMkLst>
        </pc:spChg>
        <pc:spChg chg="mod">
          <ac:chgData name="Fatma Alsagaf" userId="ef587b5e-378a-4bb3-aa9f-3c15b98138a4" providerId="ADAL" clId="{C501D7D1-386F-4507-9267-B8938CF1C372}" dt="2023-10-10T11:10:04.610" v="1007"/>
          <ac:spMkLst>
            <pc:docMk/>
            <pc:sldMk cId="2319192221" sldId="2147377171"/>
            <ac:spMk id="1140" creationId="{FAF0FC5D-687E-3586-E222-0D26D517D7B5}"/>
          </ac:spMkLst>
        </pc:spChg>
        <pc:spChg chg="add mod">
          <ac:chgData name="Fatma Alsagaf" userId="ef587b5e-378a-4bb3-aa9f-3c15b98138a4" providerId="ADAL" clId="{C501D7D1-386F-4507-9267-B8938CF1C372}" dt="2023-10-10T11:16:18.334" v="1067" actId="164"/>
          <ac:spMkLst>
            <pc:docMk/>
            <pc:sldMk cId="2319192221" sldId="2147377171"/>
            <ac:spMk id="1141" creationId="{DF6631BF-40C3-9EB0-54BA-FCF625FB58A8}"/>
          </ac:spMkLst>
        </pc:spChg>
        <pc:spChg chg="mod">
          <ac:chgData name="Fatma Alsagaf" userId="ef587b5e-378a-4bb3-aa9f-3c15b98138a4" providerId="ADAL" clId="{C501D7D1-386F-4507-9267-B8938CF1C372}" dt="2023-10-10T11:24:02.842" v="1085" actId="1076"/>
          <ac:spMkLst>
            <pc:docMk/>
            <pc:sldMk cId="2319192221" sldId="2147377171"/>
            <ac:spMk id="1145" creationId="{73360CA8-0082-02C9-A6DF-EDE589B03C51}"/>
          </ac:spMkLst>
        </pc:spChg>
        <pc:spChg chg="mod">
          <ac:chgData name="Fatma Alsagaf" userId="ef587b5e-378a-4bb3-aa9f-3c15b98138a4" providerId="ADAL" clId="{C501D7D1-386F-4507-9267-B8938CF1C372}" dt="2023-10-10T11:25:25.501" v="1107" actId="1076"/>
          <ac:spMkLst>
            <pc:docMk/>
            <pc:sldMk cId="2319192221" sldId="2147377171"/>
            <ac:spMk id="1146" creationId="{CD9A7B61-E409-737D-D788-A2BEFA535063}"/>
          </ac:spMkLst>
        </pc:spChg>
        <pc:spChg chg="mod">
          <ac:chgData name="Fatma Alsagaf" userId="ef587b5e-378a-4bb3-aa9f-3c15b98138a4" providerId="ADAL" clId="{C501D7D1-386F-4507-9267-B8938CF1C372}" dt="2023-10-10T11:16:21.380" v="1068"/>
          <ac:spMkLst>
            <pc:docMk/>
            <pc:sldMk cId="2319192221" sldId="2147377171"/>
            <ac:spMk id="1147" creationId="{2E8B307D-82E0-3D36-7A26-3BEA794E4D73}"/>
          </ac:spMkLst>
        </pc:spChg>
        <pc:spChg chg="mod">
          <ac:chgData name="Fatma Alsagaf" userId="ef587b5e-378a-4bb3-aa9f-3c15b98138a4" providerId="ADAL" clId="{C501D7D1-386F-4507-9267-B8938CF1C372}" dt="2023-10-10T11:23:48.743" v="1083" actId="1076"/>
          <ac:spMkLst>
            <pc:docMk/>
            <pc:sldMk cId="2319192221" sldId="2147377171"/>
            <ac:spMk id="1148" creationId="{E26044FE-BD10-0E70-46A5-94D821AF4520}"/>
          </ac:spMkLst>
        </pc:spChg>
        <pc:spChg chg="mod">
          <ac:chgData name="Fatma Alsagaf" userId="ef587b5e-378a-4bb3-aa9f-3c15b98138a4" providerId="ADAL" clId="{C501D7D1-386F-4507-9267-B8938CF1C372}" dt="2023-10-10T11:16:21.380" v="1068"/>
          <ac:spMkLst>
            <pc:docMk/>
            <pc:sldMk cId="2319192221" sldId="2147377171"/>
            <ac:spMk id="1149" creationId="{F4FBD279-6AB6-4A8C-57E7-4C7DF6CAD15C}"/>
          </ac:spMkLst>
        </pc:spChg>
        <pc:spChg chg="add mod">
          <ac:chgData name="Fatma Alsagaf" userId="ef587b5e-378a-4bb3-aa9f-3c15b98138a4" providerId="ADAL" clId="{C501D7D1-386F-4507-9267-B8938CF1C372}" dt="2023-10-10T11:25:08.645" v="1105" actId="20577"/>
          <ac:spMkLst>
            <pc:docMk/>
            <pc:sldMk cId="2319192221" sldId="2147377171"/>
            <ac:spMk id="1150" creationId="{69847944-AEF0-403D-37A8-F335E314E040}"/>
          </ac:spMkLst>
        </pc:spChg>
        <pc:spChg chg="mod">
          <ac:chgData name="Fatma Alsagaf" userId="ef587b5e-378a-4bb3-aa9f-3c15b98138a4" providerId="ADAL" clId="{C501D7D1-386F-4507-9267-B8938CF1C372}" dt="2023-10-10T11:25:34.591" v="1108"/>
          <ac:spMkLst>
            <pc:docMk/>
            <pc:sldMk cId="2319192221" sldId="2147377171"/>
            <ac:spMk id="1155" creationId="{E588B4BB-FAE4-DC26-C1AF-C339AE934C36}"/>
          </ac:spMkLst>
        </pc:spChg>
        <pc:spChg chg="mod">
          <ac:chgData name="Fatma Alsagaf" userId="ef587b5e-378a-4bb3-aa9f-3c15b98138a4" providerId="ADAL" clId="{C501D7D1-386F-4507-9267-B8938CF1C372}" dt="2023-10-10T11:25:34.591" v="1108"/>
          <ac:spMkLst>
            <pc:docMk/>
            <pc:sldMk cId="2319192221" sldId="2147377171"/>
            <ac:spMk id="1156" creationId="{A1617FC6-41D3-551C-C53E-F343BE883C39}"/>
          </ac:spMkLst>
        </pc:spChg>
        <pc:spChg chg="mod">
          <ac:chgData name="Fatma Alsagaf" userId="ef587b5e-378a-4bb3-aa9f-3c15b98138a4" providerId="ADAL" clId="{C501D7D1-386F-4507-9267-B8938CF1C372}" dt="2023-10-10T11:25:34.591" v="1108"/>
          <ac:spMkLst>
            <pc:docMk/>
            <pc:sldMk cId="2319192221" sldId="2147377171"/>
            <ac:spMk id="1157" creationId="{7E181115-7CEE-E974-C3E3-28039340677E}"/>
          </ac:spMkLst>
        </pc:spChg>
        <pc:spChg chg="mod">
          <ac:chgData name="Fatma Alsagaf" userId="ef587b5e-378a-4bb3-aa9f-3c15b98138a4" providerId="ADAL" clId="{C501D7D1-386F-4507-9267-B8938CF1C372}" dt="2023-10-10T11:25:34.591" v="1108"/>
          <ac:spMkLst>
            <pc:docMk/>
            <pc:sldMk cId="2319192221" sldId="2147377171"/>
            <ac:spMk id="1158" creationId="{80207AE6-77B6-9374-A69B-09697059CA43}"/>
          </ac:spMkLst>
        </pc:spChg>
        <pc:spChg chg="mod">
          <ac:chgData name="Fatma Alsagaf" userId="ef587b5e-378a-4bb3-aa9f-3c15b98138a4" providerId="ADAL" clId="{C501D7D1-386F-4507-9267-B8938CF1C372}" dt="2023-10-10T11:25:34.591" v="1108"/>
          <ac:spMkLst>
            <pc:docMk/>
            <pc:sldMk cId="2319192221" sldId="2147377171"/>
            <ac:spMk id="1159" creationId="{7E37338A-A43D-C994-FE7D-D5AF9EF86E0B}"/>
          </ac:spMkLst>
        </pc:spChg>
        <pc:spChg chg="mod">
          <ac:chgData name="Fatma Alsagaf" userId="ef587b5e-378a-4bb3-aa9f-3c15b98138a4" providerId="ADAL" clId="{C501D7D1-386F-4507-9267-B8938CF1C372}" dt="2023-10-10T11:25:39.384" v="1110"/>
          <ac:spMkLst>
            <pc:docMk/>
            <pc:sldMk cId="2319192221" sldId="2147377171"/>
            <ac:spMk id="1162" creationId="{65A1A857-95A4-F624-346E-8F8ADE7E5D85}"/>
          </ac:spMkLst>
        </pc:spChg>
        <pc:spChg chg="mod">
          <ac:chgData name="Fatma Alsagaf" userId="ef587b5e-378a-4bb3-aa9f-3c15b98138a4" providerId="ADAL" clId="{C501D7D1-386F-4507-9267-B8938CF1C372}" dt="2023-10-10T11:25:39.384" v="1110"/>
          <ac:spMkLst>
            <pc:docMk/>
            <pc:sldMk cId="2319192221" sldId="2147377171"/>
            <ac:spMk id="1163" creationId="{0EAE3792-E49B-1324-9DA5-3FFAD582B58A}"/>
          </ac:spMkLst>
        </pc:spChg>
        <pc:spChg chg="mod">
          <ac:chgData name="Fatma Alsagaf" userId="ef587b5e-378a-4bb3-aa9f-3c15b98138a4" providerId="ADAL" clId="{C501D7D1-386F-4507-9267-B8938CF1C372}" dt="2023-10-10T11:25:39.384" v="1110"/>
          <ac:spMkLst>
            <pc:docMk/>
            <pc:sldMk cId="2319192221" sldId="2147377171"/>
            <ac:spMk id="1164" creationId="{2B63C996-F953-72C2-783F-526B02F75EB2}"/>
          </ac:spMkLst>
        </pc:spChg>
        <pc:spChg chg="mod">
          <ac:chgData name="Fatma Alsagaf" userId="ef587b5e-378a-4bb3-aa9f-3c15b98138a4" providerId="ADAL" clId="{C501D7D1-386F-4507-9267-B8938CF1C372}" dt="2023-10-10T11:27:13.592" v="1133" actId="14100"/>
          <ac:spMkLst>
            <pc:docMk/>
            <pc:sldMk cId="2319192221" sldId="2147377171"/>
            <ac:spMk id="1165" creationId="{B7696C94-D531-F1CC-F838-370FCBC6A841}"/>
          </ac:spMkLst>
        </pc:spChg>
        <pc:spChg chg="mod">
          <ac:chgData name="Fatma Alsagaf" userId="ef587b5e-378a-4bb3-aa9f-3c15b98138a4" providerId="ADAL" clId="{C501D7D1-386F-4507-9267-B8938CF1C372}" dt="2023-10-10T11:25:39.384" v="1110"/>
          <ac:spMkLst>
            <pc:docMk/>
            <pc:sldMk cId="2319192221" sldId="2147377171"/>
            <ac:spMk id="1166" creationId="{2876975A-BC8B-0362-948E-47C0F3FE2FA9}"/>
          </ac:spMkLst>
        </pc:spChg>
        <pc:spChg chg="mod">
          <ac:chgData name="Fatma Alsagaf" userId="ef587b5e-378a-4bb3-aa9f-3c15b98138a4" providerId="ADAL" clId="{C501D7D1-386F-4507-9267-B8938CF1C372}" dt="2023-10-10T11:27:29.410" v="1134"/>
          <ac:spMkLst>
            <pc:docMk/>
            <pc:sldMk cId="2319192221" sldId="2147377171"/>
            <ac:spMk id="1169" creationId="{E61DE7C5-D512-7443-017C-2DB498E212C7}"/>
          </ac:spMkLst>
        </pc:spChg>
        <pc:spChg chg="mod">
          <ac:chgData name="Fatma Alsagaf" userId="ef587b5e-378a-4bb3-aa9f-3c15b98138a4" providerId="ADAL" clId="{C501D7D1-386F-4507-9267-B8938CF1C372}" dt="2023-10-10T11:27:29.410" v="1134"/>
          <ac:spMkLst>
            <pc:docMk/>
            <pc:sldMk cId="2319192221" sldId="2147377171"/>
            <ac:spMk id="1170" creationId="{275BA5CF-CA1A-3C47-5AFB-E1FFF875E1EF}"/>
          </ac:spMkLst>
        </pc:spChg>
        <pc:spChg chg="mod">
          <ac:chgData name="Fatma Alsagaf" userId="ef587b5e-378a-4bb3-aa9f-3c15b98138a4" providerId="ADAL" clId="{C501D7D1-386F-4507-9267-B8938CF1C372}" dt="2023-10-10T11:27:29.410" v="1134"/>
          <ac:spMkLst>
            <pc:docMk/>
            <pc:sldMk cId="2319192221" sldId="2147377171"/>
            <ac:spMk id="1171" creationId="{6D71FC16-5F9F-3252-1BB0-22718B1C0AFD}"/>
          </ac:spMkLst>
        </pc:spChg>
        <pc:spChg chg="mod">
          <ac:chgData name="Fatma Alsagaf" userId="ef587b5e-378a-4bb3-aa9f-3c15b98138a4" providerId="ADAL" clId="{C501D7D1-386F-4507-9267-B8938CF1C372}" dt="2023-10-10T11:27:29.410" v="1134"/>
          <ac:spMkLst>
            <pc:docMk/>
            <pc:sldMk cId="2319192221" sldId="2147377171"/>
            <ac:spMk id="1172" creationId="{2C91139F-E4F0-EE60-C0BE-3C4E05426BE1}"/>
          </ac:spMkLst>
        </pc:spChg>
        <pc:spChg chg="mod">
          <ac:chgData name="Fatma Alsagaf" userId="ef587b5e-378a-4bb3-aa9f-3c15b98138a4" providerId="ADAL" clId="{C501D7D1-386F-4507-9267-B8938CF1C372}" dt="2023-10-10T11:27:29.410" v="1134"/>
          <ac:spMkLst>
            <pc:docMk/>
            <pc:sldMk cId="2319192221" sldId="2147377171"/>
            <ac:spMk id="1173" creationId="{FBC4B0C0-A7B2-59B3-94D2-6EDCC631B878}"/>
          </ac:spMkLst>
        </pc:spChg>
        <pc:spChg chg="mod">
          <ac:chgData name="Fatma Alsagaf" userId="ef587b5e-378a-4bb3-aa9f-3c15b98138a4" providerId="ADAL" clId="{C501D7D1-386F-4507-9267-B8938CF1C372}" dt="2023-10-10T11:27:29.410" v="1134"/>
          <ac:spMkLst>
            <pc:docMk/>
            <pc:sldMk cId="2319192221" sldId="2147377171"/>
            <ac:spMk id="1176" creationId="{48C42809-5269-A03E-01A5-7C1F5FCBAE2C}"/>
          </ac:spMkLst>
        </pc:spChg>
        <pc:spChg chg="mod">
          <ac:chgData name="Fatma Alsagaf" userId="ef587b5e-378a-4bb3-aa9f-3c15b98138a4" providerId="ADAL" clId="{C501D7D1-386F-4507-9267-B8938CF1C372}" dt="2023-10-10T11:27:29.410" v="1134"/>
          <ac:spMkLst>
            <pc:docMk/>
            <pc:sldMk cId="2319192221" sldId="2147377171"/>
            <ac:spMk id="1177" creationId="{8A840B64-E9D6-711A-B102-05CEB746C486}"/>
          </ac:spMkLst>
        </pc:spChg>
        <pc:spChg chg="mod">
          <ac:chgData name="Fatma Alsagaf" userId="ef587b5e-378a-4bb3-aa9f-3c15b98138a4" providerId="ADAL" clId="{C501D7D1-386F-4507-9267-B8938CF1C372}" dt="2023-10-10T11:27:29.410" v="1134"/>
          <ac:spMkLst>
            <pc:docMk/>
            <pc:sldMk cId="2319192221" sldId="2147377171"/>
            <ac:spMk id="1178" creationId="{2CEB6698-43F3-722D-1A05-FD28FC16F237}"/>
          </ac:spMkLst>
        </pc:spChg>
        <pc:spChg chg="mod">
          <ac:chgData name="Fatma Alsagaf" userId="ef587b5e-378a-4bb3-aa9f-3c15b98138a4" providerId="ADAL" clId="{C501D7D1-386F-4507-9267-B8938CF1C372}" dt="2023-10-10T11:27:29.410" v="1134"/>
          <ac:spMkLst>
            <pc:docMk/>
            <pc:sldMk cId="2319192221" sldId="2147377171"/>
            <ac:spMk id="1179" creationId="{7FF18CEF-70AB-1162-7B7F-39C5976C780C}"/>
          </ac:spMkLst>
        </pc:spChg>
        <pc:spChg chg="mod">
          <ac:chgData name="Fatma Alsagaf" userId="ef587b5e-378a-4bb3-aa9f-3c15b98138a4" providerId="ADAL" clId="{C501D7D1-386F-4507-9267-B8938CF1C372}" dt="2023-10-10T11:27:29.410" v="1134"/>
          <ac:spMkLst>
            <pc:docMk/>
            <pc:sldMk cId="2319192221" sldId="2147377171"/>
            <ac:spMk id="1180" creationId="{BEDFD98B-8A75-C910-521D-BC46377F9894}"/>
          </ac:spMkLst>
        </pc:spChg>
        <pc:spChg chg="mod">
          <ac:chgData name="Fatma Alsagaf" userId="ef587b5e-378a-4bb3-aa9f-3c15b98138a4" providerId="ADAL" clId="{C501D7D1-386F-4507-9267-B8938CF1C372}" dt="2023-10-10T11:27:39.941" v="1138"/>
          <ac:spMkLst>
            <pc:docMk/>
            <pc:sldMk cId="2319192221" sldId="2147377171"/>
            <ac:spMk id="1183" creationId="{136C559F-E1CA-8A1F-D8E2-F19725D32C85}"/>
          </ac:spMkLst>
        </pc:spChg>
        <pc:spChg chg="mod">
          <ac:chgData name="Fatma Alsagaf" userId="ef587b5e-378a-4bb3-aa9f-3c15b98138a4" providerId="ADAL" clId="{C501D7D1-386F-4507-9267-B8938CF1C372}" dt="2023-10-10T11:27:39.941" v="1138"/>
          <ac:spMkLst>
            <pc:docMk/>
            <pc:sldMk cId="2319192221" sldId="2147377171"/>
            <ac:spMk id="1184" creationId="{40386A20-70A8-7147-F9AA-A7A8BDDF95BC}"/>
          </ac:spMkLst>
        </pc:spChg>
        <pc:spChg chg="mod">
          <ac:chgData name="Fatma Alsagaf" userId="ef587b5e-378a-4bb3-aa9f-3c15b98138a4" providerId="ADAL" clId="{C501D7D1-386F-4507-9267-B8938CF1C372}" dt="2023-10-10T11:27:39.941" v="1138"/>
          <ac:spMkLst>
            <pc:docMk/>
            <pc:sldMk cId="2319192221" sldId="2147377171"/>
            <ac:spMk id="1185" creationId="{4E263C51-8448-5AB3-B98C-D0B88B12F579}"/>
          </ac:spMkLst>
        </pc:spChg>
        <pc:spChg chg="mod">
          <ac:chgData name="Fatma Alsagaf" userId="ef587b5e-378a-4bb3-aa9f-3c15b98138a4" providerId="ADAL" clId="{C501D7D1-386F-4507-9267-B8938CF1C372}" dt="2023-10-10T11:27:39.941" v="1138"/>
          <ac:spMkLst>
            <pc:docMk/>
            <pc:sldMk cId="2319192221" sldId="2147377171"/>
            <ac:spMk id="1186" creationId="{8329EE16-71DA-A0DA-5F01-F6496419D8C4}"/>
          </ac:spMkLst>
        </pc:spChg>
        <pc:spChg chg="mod">
          <ac:chgData name="Fatma Alsagaf" userId="ef587b5e-378a-4bb3-aa9f-3c15b98138a4" providerId="ADAL" clId="{C501D7D1-386F-4507-9267-B8938CF1C372}" dt="2023-10-10T11:27:39.941" v="1138"/>
          <ac:spMkLst>
            <pc:docMk/>
            <pc:sldMk cId="2319192221" sldId="2147377171"/>
            <ac:spMk id="1187" creationId="{C6978A30-1A04-4989-5F8C-538182A7CBFB}"/>
          </ac:spMkLst>
        </pc:spChg>
        <pc:spChg chg="mod">
          <ac:chgData name="Fatma Alsagaf" userId="ef587b5e-378a-4bb3-aa9f-3c15b98138a4" providerId="ADAL" clId="{C501D7D1-386F-4507-9267-B8938CF1C372}" dt="2023-10-10T11:27:39.941" v="1138"/>
          <ac:spMkLst>
            <pc:docMk/>
            <pc:sldMk cId="2319192221" sldId="2147377171"/>
            <ac:spMk id="1190" creationId="{2C5C97FA-CD07-E8FA-C31C-CBE9107CD5CC}"/>
          </ac:spMkLst>
        </pc:spChg>
        <pc:spChg chg="mod">
          <ac:chgData name="Fatma Alsagaf" userId="ef587b5e-378a-4bb3-aa9f-3c15b98138a4" providerId="ADAL" clId="{C501D7D1-386F-4507-9267-B8938CF1C372}" dt="2023-10-10T11:27:39.941" v="1138"/>
          <ac:spMkLst>
            <pc:docMk/>
            <pc:sldMk cId="2319192221" sldId="2147377171"/>
            <ac:spMk id="1191" creationId="{2918B8BA-8ADD-32CC-6E18-CA39D2FD8A84}"/>
          </ac:spMkLst>
        </pc:spChg>
        <pc:spChg chg="mod">
          <ac:chgData name="Fatma Alsagaf" userId="ef587b5e-378a-4bb3-aa9f-3c15b98138a4" providerId="ADAL" clId="{C501D7D1-386F-4507-9267-B8938CF1C372}" dt="2023-10-10T11:27:39.941" v="1138"/>
          <ac:spMkLst>
            <pc:docMk/>
            <pc:sldMk cId="2319192221" sldId="2147377171"/>
            <ac:spMk id="1192" creationId="{830C5441-9E63-2FE4-4DBB-06D8173B6AFE}"/>
          </ac:spMkLst>
        </pc:spChg>
        <pc:spChg chg="mod">
          <ac:chgData name="Fatma Alsagaf" userId="ef587b5e-378a-4bb3-aa9f-3c15b98138a4" providerId="ADAL" clId="{C501D7D1-386F-4507-9267-B8938CF1C372}" dt="2023-10-10T11:27:39.941" v="1138"/>
          <ac:spMkLst>
            <pc:docMk/>
            <pc:sldMk cId="2319192221" sldId="2147377171"/>
            <ac:spMk id="1193" creationId="{A39E8F13-5145-855A-9E7B-BE35A96BD6D2}"/>
          </ac:spMkLst>
        </pc:spChg>
        <pc:spChg chg="mod">
          <ac:chgData name="Fatma Alsagaf" userId="ef587b5e-378a-4bb3-aa9f-3c15b98138a4" providerId="ADAL" clId="{C501D7D1-386F-4507-9267-B8938CF1C372}" dt="2023-10-10T11:27:39.941" v="1138"/>
          <ac:spMkLst>
            <pc:docMk/>
            <pc:sldMk cId="2319192221" sldId="2147377171"/>
            <ac:spMk id="1194" creationId="{76E117DF-CF33-D483-E955-24A5BB8CC2E2}"/>
          </ac:spMkLst>
        </pc:spChg>
        <pc:spChg chg="mod">
          <ac:chgData name="Fatma Alsagaf" userId="ef587b5e-378a-4bb3-aa9f-3c15b98138a4" providerId="ADAL" clId="{C501D7D1-386F-4507-9267-B8938CF1C372}" dt="2023-10-10T11:27:59.655" v="1148"/>
          <ac:spMkLst>
            <pc:docMk/>
            <pc:sldMk cId="2319192221" sldId="2147377171"/>
            <ac:spMk id="1197" creationId="{EECFA9F2-D33A-FE6C-23BF-6D67DD1A43B5}"/>
          </ac:spMkLst>
        </pc:spChg>
        <pc:spChg chg="mod">
          <ac:chgData name="Fatma Alsagaf" userId="ef587b5e-378a-4bb3-aa9f-3c15b98138a4" providerId="ADAL" clId="{C501D7D1-386F-4507-9267-B8938CF1C372}" dt="2023-10-10T11:27:59.655" v="1148"/>
          <ac:spMkLst>
            <pc:docMk/>
            <pc:sldMk cId="2319192221" sldId="2147377171"/>
            <ac:spMk id="1198" creationId="{CCEB0F70-643A-498B-9E40-5FB2CA96C44E}"/>
          </ac:spMkLst>
        </pc:spChg>
        <pc:spChg chg="mod">
          <ac:chgData name="Fatma Alsagaf" userId="ef587b5e-378a-4bb3-aa9f-3c15b98138a4" providerId="ADAL" clId="{C501D7D1-386F-4507-9267-B8938CF1C372}" dt="2023-10-10T11:27:59.655" v="1148"/>
          <ac:spMkLst>
            <pc:docMk/>
            <pc:sldMk cId="2319192221" sldId="2147377171"/>
            <ac:spMk id="1199" creationId="{75A0E40A-F56B-4CE8-A442-4714FC1E5ADF}"/>
          </ac:spMkLst>
        </pc:spChg>
        <pc:spChg chg="mod">
          <ac:chgData name="Fatma Alsagaf" userId="ef587b5e-378a-4bb3-aa9f-3c15b98138a4" providerId="ADAL" clId="{C501D7D1-386F-4507-9267-B8938CF1C372}" dt="2023-10-10T11:27:59.655" v="1148"/>
          <ac:spMkLst>
            <pc:docMk/>
            <pc:sldMk cId="2319192221" sldId="2147377171"/>
            <ac:spMk id="1200" creationId="{D7C610B3-FEE4-1D7D-5D65-24D8EDC7EEEC}"/>
          </ac:spMkLst>
        </pc:spChg>
        <pc:spChg chg="mod">
          <ac:chgData name="Fatma Alsagaf" userId="ef587b5e-378a-4bb3-aa9f-3c15b98138a4" providerId="ADAL" clId="{C501D7D1-386F-4507-9267-B8938CF1C372}" dt="2023-10-10T11:27:59.655" v="1148"/>
          <ac:spMkLst>
            <pc:docMk/>
            <pc:sldMk cId="2319192221" sldId="2147377171"/>
            <ac:spMk id="1201" creationId="{EC5BF7A7-7CAB-F422-0993-FAB7F536305E}"/>
          </ac:spMkLst>
        </pc:spChg>
        <pc:spChg chg="mod">
          <ac:chgData name="Fatma Alsagaf" userId="ef587b5e-378a-4bb3-aa9f-3c15b98138a4" providerId="ADAL" clId="{C501D7D1-386F-4507-9267-B8938CF1C372}" dt="2023-10-10T11:27:59.655" v="1148"/>
          <ac:spMkLst>
            <pc:docMk/>
            <pc:sldMk cId="2319192221" sldId="2147377171"/>
            <ac:spMk id="1204" creationId="{2A00AA1A-1AD9-A874-E1FA-B0B3788506E8}"/>
          </ac:spMkLst>
        </pc:spChg>
        <pc:spChg chg="mod">
          <ac:chgData name="Fatma Alsagaf" userId="ef587b5e-378a-4bb3-aa9f-3c15b98138a4" providerId="ADAL" clId="{C501D7D1-386F-4507-9267-B8938CF1C372}" dt="2023-10-10T11:27:59.655" v="1148"/>
          <ac:spMkLst>
            <pc:docMk/>
            <pc:sldMk cId="2319192221" sldId="2147377171"/>
            <ac:spMk id="1205" creationId="{64EDB347-FE7C-F50E-08BA-8C7532F1D392}"/>
          </ac:spMkLst>
        </pc:spChg>
        <pc:spChg chg="mod">
          <ac:chgData name="Fatma Alsagaf" userId="ef587b5e-378a-4bb3-aa9f-3c15b98138a4" providerId="ADAL" clId="{C501D7D1-386F-4507-9267-B8938CF1C372}" dt="2023-10-10T11:27:59.655" v="1148"/>
          <ac:spMkLst>
            <pc:docMk/>
            <pc:sldMk cId="2319192221" sldId="2147377171"/>
            <ac:spMk id="1206" creationId="{E69D0385-6F1A-F132-DF7A-EA4A35BAF5E4}"/>
          </ac:spMkLst>
        </pc:spChg>
        <pc:spChg chg="mod">
          <ac:chgData name="Fatma Alsagaf" userId="ef587b5e-378a-4bb3-aa9f-3c15b98138a4" providerId="ADAL" clId="{C501D7D1-386F-4507-9267-B8938CF1C372}" dt="2023-10-10T11:27:59.655" v="1148"/>
          <ac:spMkLst>
            <pc:docMk/>
            <pc:sldMk cId="2319192221" sldId="2147377171"/>
            <ac:spMk id="1207" creationId="{E0F1BA7F-DB92-B533-D648-B963F406DBF8}"/>
          </ac:spMkLst>
        </pc:spChg>
        <pc:spChg chg="mod">
          <ac:chgData name="Fatma Alsagaf" userId="ef587b5e-378a-4bb3-aa9f-3c15b98138a4" providerId="ADAL" clId="{C501D7D1-386F-4507-9267-B8938CF1C372}" dt="2023-10-10T11:27:59.655" v="1148"/>
          <ac:spMkLst>
            <pc:docMk/>
            <pc:sldMk cId="2319192221" sldId="2147377171"/>
            <ac:spMk id="1208" creationId="{251A0514-443E-DA36-23B5-F252BEE13BD4}"/>
          </ac:spMkLst>
        </pc:spChg>
        <pc:spChg chg="mod">
          <ac:chgData name="Fatma Alsagaf" userId="ef587b5e-378a-4bb3-aa9f-3c15b98138a4" providerId="ADAL" clId="{C501D7D1-386F-4507-9267-B8938CF1C372}" dt="2023-10-10T11:30:25.709" v="1155"/>
          <ac:spMkLst>
            <pc:docMk/>
            <pc:sldMk cId="2319192221" sldId="2147377171"/>
            <ac:spMk id="1211" creationId="{932E3353-0F59-159D-0089-70E2686946A7}"/>
          </ac:spMkLst>
        </pc:spChg>
        <pc:spChg chg="mod">
          <ac:chgData name="Fatma Alsagaf" userId="ef587b5e-378a-4bb3-aa9f-3c15b98138a4" providerId="ADAL" clId="{C501D7D1-386F-4507-9267-B8938CF1C372}" dt="2023-10-10T11:30:25.709" v="1155"/>
          <ac:spMkLst>
            <pc:docMk/>
            <pc:sldMk cId="2319192221" sldId="2147377171"/>
            <ac:spMk id="1212" creationId="{743AE95C-BA2D-7DFB-F1C0-249B9CA7EEC0}"/>
          </ac:spMkLst>
        </pc:spChg>
        <pc:spChg chg="mod">
          <ac:chgData name="Fatma Alsagaf" userId="ef587b5e-378a-4bb3-aa9f-3c15b98138a4" providerId="ADAL" clId="{C501D7D1-386F-4507-9267-B8938CF1C372}" dt="2023-10-10T11:30:25.709" v="1155"/>
          <ac:spMkLst>
            <pc:docMk/>
            <pc:sldMk cId="2319192221" sldId="2147377171"/>
            <ac:spMk id="1213" creationId="{415BA6AB-AAF7-1BC5-9CE8-1547D2DC3968}"/>
          </ac:spMkLst>
        </pc:spChg>
        <pc:spChg chg="mod">
          <ac:chgData name="Fatma Alsagaf" userId="ef587b5e-378a-4bb3-aa9f-3c15b98138a4" providerId="ADAL" clId="{C501D7D1-386F-4507-9267-B8938CF1C372}" dt="2023-10-10T11:30:25.709" v="1155"/>
          <ac:spMkLst>
            <pc:docMk/>
            <pc:sldMk cId="2319192221" sldId="2147377171"/>
            <ac:spMk id="1214" creationId="{DA0BBCAC-F395-D998-6F7C-4214FDAF9D90}"/>
          </ac:spMkLst>
        </pc:spChg>
        <pc:spChg chg="mod">
          <ac:chgData name="Fatma Alsagaf" userId="ef587b5e-378a-4bb3-aa9f-3c15b98138a4" providerId="ADAL" clId="{C501D7D1-386F-4507-9267-B8938CF1C372}" dt="2023-10-10T11:30:25.709" v="1155"/>
          <ac:spMkLst>
            <pc:docMk/>
            <pc:sldMk cId="2319192221" sldId="2147377171"/>
            <ac:spMk id="1215" creationId="{A23FEF40-4E0C-80FD-5B7B-79B5784FEAAB}"/>
          </ac:spMkLst>
        </pc:spChg>
        <pc:spChg chg="mod">
          <ac:chgData name="Fatma Alsagaf" userId="ef587b5e-378a-4bb3-aa9f-3c15b98138a4" providerId="ADAL" clId="{C501D7D1-386F-4507-9267-B8938CF1C372}" dt="2023-10-10T11:30:27.709" v="1157"/>
          <ac:spMkLst>
            <pc:docMk/>
            <pc:sldMk cId="2319192221" sldId="2147377171"/>
            <ac:spMk id="1218" creationId="{E168C316-DA51-04A2-9568-BF7F6FFD1D2B}"/>
          </ac:spMkLst>
        </pc:spChg>
        <pc:spChg chg="mod">
          <ac:chgData name="Fatma Alsagaf" userId="ef587b5e-378a-4bb3-aa9f-3c15b98138a4" providerId="ADAL" clId="{C501D7D1-386F-4507-9267-B8938CF1C372}" dt="2023-10-10T11:30:27.709" v="1157"/>
          <ac:spMkLst>
            <pc:docMk/>
            <pc:sldMk cId="2319192221" sldId="2147377171"/>
            <ac:spMk id="1219" creationId="{29B32AEE-EA26-D328-564D-B4C65D88C766}"/>
          </ac:spMkLst>
        </pc:spChg>
        <pc:spChg chg="mod">
          <ac:chgData name="Fatma Alsagaf" userId="ef587b5e-378a-4bb3-aa9f-3c15b98138a4" providerId="ADAL" clId="{C501D7D1-386F-4507-9267-B8938CF1C372}" dt="2023-10-10T11:30:27.709" v="1157"/>
          <ac:spMkLst>
            <pc:docMk/>
            <pc:sldMk cId="2319192221" sldId="2147377171"/>
            <ac:spMk id="1220" creationId="{060BCBC4-FE37-7B53-5856-70953C8617D6}"/>
          </ac:spMkLst>
        </pc:spChg>
        <pc:spChg chg="mod">
          <ac:chgData name="Fatma Alsagaf" userId="ef587b5e-378a-4bb3-aa9f-3c15b98138a4" providerId="ADAL" clId="{C501D7D1-386F-4507-9267-B8938CF1C372}" dt="2023-10-10T11:30:27.709" v="1157"/>
          <ac:spMkLst>
            <pc:docMk/>
            <pc:sldMk cId="2319192221" sldId="2147377171"/>
            <ac:spMk id="1221" creationId="{68ED944A-CB5F-7B3C-5861-238386835FF1}"/>
          </ac:spMkLst>
        </pc:spChg>
        <pc:spChg chg="mod">
          <ac:chgData name="Fatma Alsagaf" userId="ef587b5e-378a-4bb3-aa9f-3c15b98138a4" providerId="ADAL" clId="{C501D7D1-386F-4507-9267-B8938CF1C372}" dt="2023-10-10T11:30:27.709" v="1157"/>
          <ac:spMkLst>
            <pc:docMk/>
            <pc:sldMk cId="2319192221" sldId="2147377171"/>
            <ac:spMk id="1222" creationId="{1E5F3A5E-C002-9F99-C621-29DC8E19141B}"/>
          </ac:spMkLst>
        </pc:spChg>
        <pc:spChg chg="mod">
          <ac:chgData name="Fatma Alsagaf" userId="ef587b5e-378a-4bb3-aa9f-3c15b98138a4" providerId="ADAL" clId="{C501D7D1-386F-4507-9267-B8938CF1C372}" dt="2023-10-10T11:30:31.285" v="1160"/>
          <ac:spMkLst>
            <pc:docMk/>
            <pc:sldMk cId="2319192221" sldId="2147377171"/>
            <ac:spMk id="1225" creationId="{CDD8816F-EDA2-079F-DD67-9B83542DC97B}"/>
          </ac:spMkLst>
        </pc:spChg>
        <pc:spChg chg="mod">
          <ac:chgData name="Fatma Alsagaf" userId="ef587b5e-378a-4bb3-aa9f-3c15b98138a4" providerId="ADAL" clId="{C501D7D1-386F-4507-9267-B8938CF1C372}" dt="2023-10-10T11:30:31.285" v="1160"/>
          <ac:spMkLst>
            <pc:docMk/>
            <pc:sldMk cId="2319192221" sldId="2147377171"/>
            <ac:spMk id="1226" creationId="{A853AC48-3861-7E20-E4D4-5E692F1C1A23}"/>
          </ac:spMkLst>
        </pc:spChg>
        <pc:spChg chg="mod">
          <ac:chgData name="Fatma Alsagaf" userId="ef587b5e-378a-4bb3-aa9f-3c15b98138a4" providerId="ADAL" clId="{C501D7D1-386F-4507-9267-B8938CF1C372}" dt="2023-10-10T11:30:31.285" v="1160"/>
          <ac:spMkLst>
            <pc:docMk/>
            <pc:sldMk cId="2319192221" sldId="2147377171"/>
            <ac:spMk id="1227" creationId="{A1C2811C-744D-1F8F-1767-A2DF441406AB}"/>
          </ac:spMkLst>
        </pc:spChg>
        <pc:spChg chg="mod">
          <ac:chgData name="Fatma Alsagaf" userId="ef587b5e-378a-4bb3-aa9f-3c15b98138a4" providerId="ADAL" clId="{C501D7D1-386F-4507-9267-B8938CF1C372}" dt="2023-10-10T11:30:31.285" v="1160"/>
          <ac:spMkLst>
            <pc:docMk/>
            <pc:sldMk cId="2319192221" sldId="2147377171"/>
            <ac:spMk id="1228" creationId="{58E1129D-3F85-1E2A-E0DC-731BF457C4F5}"/>
          </ac:spMkLst>
        </pc:spChg>
        <pc:spChg chg="mod">
          <ac:chgData name="Fatma Alsagaf" userId="ef587b5e-378a-4bb3-aa9f-3c15b98138a4" providerId="ADAL" clId="{C501D7D1-386F-4507-9267-B8938CF1C372}" dt="2023-10-10T11:30:31.285" v="1160"/>
          <ac:spMkLst>
            <pc:docMk/>
            <pc:sldMk cId="2319192221" sldId="2147377171"/>
            <ac:spMk id="1229" creationId="{86B6080C-69B5-F0DB-9376-F9FCC6E6C1D3}"/>
          </ac:spMkLst>
        </pc:spChg>
        <pc:spChg chg="mod">
          <ac:chgData name="Fatma Alsagaf" userId="ef587b5e-378a-4bb3-aa9f-3c15b98138a4" providerId="ADAL" clId="{C501D7D1-386F-4507-9267-B8938CF1C372}" dt="2023-10-10T11:30:31.285" v="1160"/>
          <ac:spMkLst>
            <pc:docMk/>
            <pc:sldMk cId="2319192221" sldId="2147377171"/>
            <ac:spMk id="1232" creationId="{56DA7958-1FB3-7EE3-C53F-D916FA8298A1}"/>
          </ac:spMkLst>
        </pc:spChg>
        <pc:spChg chg="mod">
          <ac:chgData name="Fatma Alsagaf" userId="ef587b5e-378a-4bb3-aa9f-3c15b98138a4" providerId="ADAL" clId="{C501D7D1-386F-4507-9267-B8938CF1C372}" dt="2023-10-10T11:30:31.285" v="1160"/>
          <ac:spMkLst>
            <pc:docMk/>
            <pc:sldMk cId="2319192221" sldId="2147377171"/>
            <ac:spMk id="1233" creationId="{EF85372A-F133-06E0-C01F-E7C809DC1095}"/>
          </ac:spMkLst>
        </pc:spChg>
        <pc:spChg chg="mod">
          <ac:chgData name="Fatma Alsagaf" userId="ef587b5e-378a-4bb3-aa9f-3c15b98138a4" providerId="ADAL" clId="{C501D7D1-386F-4507-9267-B8938CF1C372}" dt="2023-10-10T11:30:31.285" v="1160"/>
          <ac:spMkLst>
            <pc:docMk/>
            <pc:sldMk cId="2319192221" sldId="2147377171"/>
            <ac:spMk id="1234" creationId="{AB4F6CCB-3D3A-6AD1-7747-D50C99B19EA7}"/>
          </ac:spMkLst>
        </pc:spChg>
        <pc:spChg chg="mod">
          <ac:chgData name="Fatma Alsagaf" userId="ef587b5e-378a-4bb3-aa9f-3c15b98138a4" providerId="ADAL" clId="{C501D7D1-386F-4507-9267-B8938CF1C372}" dt="2023-10-10T11:30:31.285" v="1160"/>
          <ac:spMkLst>
            <pc:docMk/>
            <pc:sldMk cId="2319192221" sldId="2147377171"/>
            <ac:spMk id="1235" creationId="{F4219685-55BE-DB1A-4B75-849F1A12F212}"/>
          </ac:spMkLst>
        </pc:spChg>
        <pc:spChg chg="mod">
          <ac:chgData name="Fatma Alsagaf" userId="ef587b5e-378a-4bb3-aa9f-3c15b98138a4" providerId="ADAL" clId="{C501D7D1-386F-4507-9267-B8938CF1C372}" dt="2023-10-10T11:30:31.285" v="1160"/>
          <ac:spMkLst>
            <pc:docMk/>
            <pc:sldMk cId="2319192221" sldId="2147377171"/>
            <ac:spMk id="1236" creationId="{4ADACBA5-BBE6-7EF5-EA45-53978C0231D6}"/>
          </ac:spMkLst>
        </pc:spChg>
        <pc:spChg chg="mod">
          <ac:chgData name="Fatma Alsagaf" userId="ef587b5e-378a-4bb3-aa9f-3c15b98138a4" providerId="ADAL" clId="{C501D7D1-386F-4507-9267-B8938CF1C372}" dt="2023-10-10T11:30:38.421" v="1164"/>
          <ac:spMkLst>
            <pc:docMk/>
            <pc:sldMk cId="2319192221" sldId="2147377171"/>
            <ac:spMk id="1239" creationId="{04C29AF2-E7AE-1DD1-019D-7175912F8896}"/>
          </ac:spMkLst>
        </pc:spChg>
        <pc:spChg chg="mod">
          <ac:chgData name="Fatma Alsagaf" userId="ef587b5e-378a-4bb3-aa9f-3c15b98138a4" providerId="ADAL" clId="{C501D7D1-386F-4507-9267-B8938CF1C372}" dt="2023-10-10T11:30:38.421" v="1164"/>
          <ac:spMkLst>
            <pc:docMk/>
            <pc:sldMk cId="2319192221" sldId="2147377171"/>
            <ac:spMk id="1240" creationId="{BA21ED13-07C3-FA6F-E580-1171F27E19D4}"/>
          </ac:spMkLst>
        </pc:spChg>
        <pc:spChg chg="mod">
          <ac:chgData name="Fatma Alsagaf" userId="ef587b5e-378a-4bb3-aa9f-3c15b98138a4" providerId="ADAL" clId="{C501D7D1-386F-4507-9267-B8938CF1C372}" dt="2023-10-10T11:30:38.421" v="1164"/>
          <ac:spMkLst>
            <pc:docMk/>
            <pc:sldMk cId="2319192221" sldId="2147377171"/>
            <ac:spMk id="1241" creationId="{194B5CCE-7B60-0A41-1E4C-BF4393A93BD6}"/>
          </ac:spMkLst>
        </pc:spChg>
        <pc:spChg chg="mod">
          <ac:chgData name="Fatma Alsagaf" userId="ef587b5e-378a-4bb3-aa9f-3c15b98138a4" providerId="ADAL" clId="{C501D7D1-386F-4507-9267-B8938CF1C372}" dt="2023-10-10T11:30:38.421" v="1164"/>
          <ac:spMkLst>
            <pc:docMk/>
            <pc:sldMk cId="2319192221" sldId="2147377171"/>
            <ac:spMk id="1242" creationId="{CA219841-A831-36FE-7BFE-2B5F52F1D53D}"/>
          </ac:spMkLst>
        </pc:spChg>
        <pc:spChg chg="mod">
          <ac:chgData name="Fatma Alsagaf" userId="ef587b5e-378a-4bb3-aa9f-3c15b98138a4" providerId="ADAL" clId="{C501D7D1-386F-4507-9267-B8938CF1C372}" dt="2023-10-10T11:30:38.421" v="1164"/>
          <ac:spMkLst>
            <pc:docMk/>
            <pc:sldMk cId="2319192221" sldId="2147377171"/>
            <ac:spMk id="1243" creationId="{B6DE4B30-9DD8-A15B-2E3C-B27A2116AD16}"/>
          </ac:spMkLst>
        </pc:spChg>
        <pc:spChg chg="mod">
          <ac:chgData name="Fatma Alsagaf" userId="ef587b5e-378a-4bb3-aa9f-3c15b98138a4" providerId="ADAL" clId="{C501D7D1-386F-4507-9267-B8938CF1C372}" dt="2023-10-10T11:30:38.421" v="1164"/>
          <ac:spMkLst>
            <pc:docMk/>
            <pc:sldMk cId="2319192221" sldId="2147377171"/>
            <ac:spMk id="1246" creationId="{0E9F1A0C-182E-0DEB-1895-EA2C88290DC0}"/>
          </ac:spMkLst>
        </pc:spChg>
        <pc:spChg chg="mod">
          <ac:chgData name="Fatma Alsagaf" userId="ef587b5e-378a-4bb3-aa9f-3c15b98138a4" providerId="ADAL" clId="{C501D7D1-386F-4507-9267-B8938CF1C372}" dt="2023-10-10T11:30:38.421" v="1164"/>
          <ac:spMkLst>
            <pc:docMk/>
            <pc:sldMk cId="2319192221" sldId="2147377171"/>
            <ac:spMk id="1247" creationId="{7021E9E1-8266-B1A2-0BE4-E926118F3416}"/>
          </ac:spMkLst>
        </pc:spChg>
        <pc:spChg chg="mod">
          <ac:chgData name="Fatma Alsagaf" userId="ef587b5e-378a-4bb3-aa9f-3c15b98138a4" providerId="ADAL" clId="{C501D7D1-386F-4507-9267-B8938CF1C372}" dt="2023-10-10T11:30:38.421" v="1164"/>
          <ac:spMkLst>
            <pc:docMk/>
            <pc:sldMk cId="2319192221" sldId="2147377171"/>
            <ac:spMk id="1248" creationId="{97CBC9A4-5F19-6681-6004-C7A919AD31CD}"/>
          </ac:spMkLst>
        </pc:spChg>
        <pc:spChg chg="mod">
          <ac:chgData name="Fatma Alsagaf" userId="ef587b5e-378a-4bb3-aa9f-3c15b98138a4" providerId="ADAL" clId="{C501D7D1-386F-4507-9267-B8938CF1C372}" dt="2023-10-10T11:30:38.421" v="1164"/>
          <ac:spMkLst>
            <pc:docMk/>
            <pc:sldMk cId="2319192221" sldId="2147377171"/>
            <ac:spMk id="1249" creationId="{8E90392E-031E-B55C-73EB-71768DB586A5}"/>
          </ac:spMkLst>
        </pc:spChg>
        <pc:spChg chg="mod">
          <ac:chgData name="Fatma Alsagaf" userId="ef587b5e-378a-4bb3-aa9f-3c15b98138a4" providerId="ADAL" clId="{C501D7D1-386F-4507-9267-B8938CF1C372}" dt="2023-10-10T11:30:38.421" v="1164"/>
          <ac:spMkLst>
            <pc:docMk/>
            <pc:sldMk cId="2319192221" sldId="2147377171"/>
            <ac:spMk id="1250" creationId="{8AC12BF5-F255-1892-66A0-5F9355A9A25C}"/>
          </ac:spMkLst>
        </pc:spChg>
        <pc:spChg chg="mod">
          <ac:chgData name="Fatma Alsagaf" userId="ef587b5e-378a-4bb3-aa9f-3c15b98138a4" providerId="ADAL" clId="{C501D7D1-386F-4507-9267-B8938CF1C372}" dt="2023-10-10T11:32:45.450" v="1171"/>
          <ac:spMkLst>
            <pc:docMk/>
            <pc:sldMk cId="2319192221" sldId="2147377171"/>
            <ac:spMk id="1253" creationId="{EB2974DF-7C15-23D0-CA3C-49A4ECF19658}"/>
          </ac:spMkLst>
        </pc:spChg>
        <pc:spChg chg="mod">
          <ac:chgData name="Fatma Alsagaf" userId="ef587b5e-378a-4bb3-aa9f-3c15b98138a4" providerId="ADAL" clId="{C501D7D1-386F-4507-9267-B8938CF1C372}" dt="2023-10-10T11:32:45.450" v="1171"/>
          <ac:spMkLst>
            <pc:docMk/>
            <pc:sldMk cId="2319192221" sldId="2147377171"/>
            <ac:spMk id="1254" creationId="{75E68BC2-9168-4A9F-6A8A-468337D198A7}"/>
          </ac:spMkLst>
        </pc:spChg>
        <pc:spChg chg="mod">
          <ac:chgData name="Fatma Alsagaf" userId="ef587b5e-378a-4bb3-aa9f-3c15b98138a4" providerId="ADAL" clId="{C501D7D1-386F-4507-9267-B8938CF1C372}" dt="2023-10-10T11:32:45.450" v="1171"/>
          <ac:spMkLst>
            <pc:docMk/>
            <pc:sldMk cId="2319192221" sldId="2147377171"/>
            <ac:spMk id="1255" creationId="{A8C13B1B-C329-3092-02FC-E77CC0D5F29A}"/>
          </ac:spMkLst>
        </pc:spChg>
        <pc:spChg chg="mod">
          <ac:chgData name="Fatma Alsagaf" userId="ef587b5e-378a-4bb3-aa9f-3c15b98138a4" providerId="ADAL" clId="{C501D7D1-386F-4507-9267-B8938CF1C372}" dt="2023-10-10T11:32:45.450" v="1171"/>
          <ac:spMkLst>
            <pc:docMk/>
            <pc:sldMk cId="2319192221" sldId="2147377171"/>
            <ac:spMk id="1256" creationId="{17248ADF-17C6-98D0-0820-587EA08B473F}"/>
          </ac:spMkLst>
        </pc:spChg>
        <pc:spChg chg="mod">
          <ac:chgData name="Fatma Alsagaf" userId="ef587b5e-378a-4bb3-aa9f-3c15b98138a4" providerId="ADAL" clId="{C501D7D1-386F-4507-9267-B8938CF1C372}" dt="2023-10-10T11:32:45.450" v="1171"/>
          <ac:spMkLst>
            <pc:docMk/>
            <pc:sldMk cId="2319192221" sldId="2147377171"/>
            <ac:spMk id="1257" creationId="{269134E3-A9C8-205E-6D5F-B316E8482F9E}"/>
          </ac:spMkLst>
        </pc:spChg>
        <pc:spChg chg="del mod topLvl">
          <ac:chgData name="Fatma Alsagaf" userId="ef587b5e-378a-4bb3-aa9f-3c15b98138a4" providerId="ADAL" clId="{C501D7D1-386F-4507-9267-B8938CF1C372}" dt="2023-10-10T12:17:54.748" v="1184" actId="21"/>
          <ac:spMkLst>
            <pc:docMk/>
            <pc:sldMk cId="2319192221" sldId="2147377171"/>
            <ac:spMk id="1260" creationId="{EB8515B9-1228-8377-19D7-AA1119CB5399}"/>
          </ac:spMkLst>
        </pc:spChg>
        <pc:spChg chg="mod">
          <ac:chgData name="Fatma Alsagaf" userId="ef587b5e-378a-4bb3-aa9f-3c15b98138a4" providerId="ADAL" clId="{C501D7D1-386F-4507-9267-B8938CF1C372}" dt="2023-10-10T11:32:45.450" v="1171"/>
          <ac:spMkLst>
            <pc:docMk/>
            <pc:sldMk cId="2319192221" sldId="2147377171"/>
            <ac:spMk id="1261" creationId="{254AD5FB-F29C-A667-E1A6-E4F071390F55}"/>
          </ac:spMkLst>
        </pc:spChg>
        <pc:spChg chg="mod">
          <ac:chgData name="Fatma Alsagaf" userId="ef587b5e-378a-4bb3-aa9f-3c15b98138a4" providerId="ADAL" clId="{C501D7D1-386F-4507-9267-B8938CF1C372}" dt="2023-10-10T11:32:45.450" v="1171"/>
          <ac:spMkLst>
            <pc:docMk/>
            <pc:sldMk cId="2319192221" sldId="2147377171"/>
            <ac:spMk id="1262" creationId="{5D58BC78-C2BB-B06E-D24B-4C0BBBA260D1}"/>
          </ac:spMkLst>
        </pc:spChg>
        <pc:spChg chg="mod">
          <ac:chgData name="Fatma Alsagaf" userId="ef587b5e-378a-4bb3-aa9f-3c15b98138a4" providerId="ADAL" clId="{C501D7D1-386F-4507-9267-B8938CF1C372}" dt="2023-10-10T11:32:45.450" v="1171"/>
          <ac:spMkLst>
            <pc:docMk/>
            <pc:sldMk cId="2319192221" sldId="2147377171"/>
            <ac:spMk id="1263" creationId="{6927E7A5-1C73-3FEF-A111-967D6E06B46C}"/>
          </ac:spMkLst>
        </pc:spChg>
        <pc:spChg chg="mod">
          <ac:chgData name="Fatma Alsagaf" userId="ef587b5e-378a-4bb3-aa9f-3c15b98138a4" providerId="ADAL" clId="{C501D7D1-386F-4507-9267-B8938CF1C372}" dt="2023-10-10T11:32:45.450" v="1171"/>
          <ac:spMkLst>
            <pc:docMk/>
            <pc:sldMk cId="2319192221" sldId="2147377171"/>
            <ac:spMk id="1264" creationId="{ACEE8731-164D-96CB-68C9-2FC4E7246A3E}"/>
          </ac:spMkLst>
        </pc:spChg>
        <pc:spChg chg="mod">
          <ac:chgData name="Fatma Alsagaf" userId="ef587b5e-378a-4bb3-aa9f-3c15b98138a4" providerId="ADAL" clId="{C501D7D1-386F-4507-9267-B8938CF1C372}" dt="2023-10-10T12:17:46.198" v="1181" actId="207"/>
          <ac:spMkLst>
            <pc:docMk/>
            <pc:sldMk cId="2319192221" sldId="2147377171"/>
            <ac:spMk id="1266" creationId="{9F87CC50-CFA9-0AB8-5D01-AE621EDAE410}"/>
          </ac:spMkLst>
        </pc:spChg>
        <pc:spChg chg="mod">
          <ac:chgData name="Fatma Alsagaf" userId="ef587b5e-378a-4bb3-aa9f-3c15b98138a4" providerId="ADAL" clId="{C501D7D1-386F-4507-9267-B8938CF1C372}" dt="2023-10-13T09:53:49.907" v="1482" actId="113"/>
          <ac:spMkLst>
            <pc:docMk/>
            <pc:sldMk cId="2319192221" sldId="2147377171"/>
            <ac:spMk id="1267" creationId="{7D5408AE-FBE8-3A43-8700-1C0C78896A4C}"/>
          </ac:spMkLst>
        </pc:spChg>
        <pc:spChg chg="del mod">
          <ac:chgData name="Fatma Alsagaf" userId="ef587b5e-378a-4bb3-aa9f-3c15b98138a4" providerId="ADAL" clId="{C501D7D1-386F-4507-9267-B8938CF1C372}" dt="2023-10-10T12:17:41.553" v="1180" actId="478"/>
          <ac:spMkLst>
            <pc:docMk/>
            <pc:sldMk cId="2319192221" sldId="2147377171"/>
            <ac:spMk id="1268" creationId="{E6610B93-AFA9-4F9E-7888-91E92F9C163C}"/>
          </ac:spMkLst>
        </pc:spChg>
        <pc:spChg chg="mod">
          <ac:chgData name="Fatma Alsagaf" userId="ef587b5e-378a-4bb3-aa9f-3c15b98138a4" providerId="ADAL" clId="{C501D7D1-386F-4507-9267-B8938CF1C372}" dt="2023-10-13T09:53:47.962" v="1480" actId="404"/>
          <ac:spMkLst>
            <pc:docMk/>
            <pc:sldMk cId="2319192221" sldId="2147377171"/>
            <ac:spMk id="1269" creationId="{7405180B-1CBA-977C-EA0E-9E76F68BA28D}"/>
          </ac:spMkLst>
        </pc:spChg>
        <pc:spChg chg="mod">
          <ac:chgData name="Fatma Alsagaf" userId="ef587b5e-378a-4bb3-aa9f-3c15b98138a4" providerId="ADAL" clId="{C501D7D1-386F-4507-9267-B8938CF1C372}" dt="2023-10-10T12:17:07.695" v="1173"/>
          <ac:spMkLst>
            <pc:docMk/>
            <pc:sldMk cId="2319192221" sldId="2147377171"/>
            <ac:spMk id="1270" creationId="{8C36B301-2728-5207-9B8B-37772759380C}"/>
          </ac:spMkLst>
        </pc:spChg>
        <pc:spChg chg="add mod">
          <ac:chgData name="Fatma Alsagaf" userId="ef587b5e-378a-4bb3-aa9f-3c15b98138a4" providerId="ADAL" clId="{C501D7D1-386F-4507-9267-B8938CF1C372}" dt="2023-10-13T09:53:46.731" v="1479" actId="113"/>
          <ac:spMkLst>
            <pc:docMk/>
            <pc:sldMk cId="2319192221" sldId="2147377171"/>
            <ac:spMk id="1271" creationId="{E836B927-F045-1D60-6058-3E8483204A0D}"/>
          </ac:spMkLst>
        </pc:spChg>
        <pc:spChg chg="mod topLvl">
          <ac:chgData name="Fatma Alsagaf" userId="ef587b5e-378a-4bb3-aa9f-3c15b98138a4" providerId="ADAL" clId="{C501D7D1-386F-4507-9267-B8938CF1C372}" dt="2023-10-10T12:31:24.789" v="1356" actId="165"/>
          <ac:spMkLst>
            <pc:docMk/>
            <pc:sldMk cId="2319192221" sldId="2147377171"/>
            <ac:spMk id="1275" creationId="{1106B57A-7009-DA54-80D0-E9739AFDB62F}"/>
          </ac:spMkLst>
        </pc:spChg>
        <pc:spChg chg="mod">
          <ac:chgData name="Fatma Alsagaf" userId="ef587b5e-378a-4bb3-aa9f-3c15b98138a4" providerId="ADAL" clId="{C501D7D1-386F-4507-9267-B8938CF1C372}" dt="2023-10-10T12:31:24.789" v="1356" actId="165"/>
          <ac:spMkLst>
            <pc:docMk/>
            <pc:sldMk cId="2319192221" sldId="2147377171"/>
            <ac:spMk id="1276" creationId="{339DB63A-B292-A614-199B-3C26EB2B98A5}"/>
          </ac:spMkLst>
        </pc:spChg>
        <pc:spChg chg="mod">
          <ac:chgData name="Fatma Alsagaf" userId="ef587b5e-378a-4bb3-aa9f-3c15b98138a4" providerId="ADAL" clId="{C501D7D1-386F-4507-9267-B8938CF1C372}" dt="2023-10-10T12:31:24.789" v="1356" actId="165"/>
          <ac:spMkLst>
            <pc:docMk/>
            <pc:sldMk cId="2319192221" sldId="2147377171"/>
            <ac:spMk id="1277" creationId="{9F0B3ACB-6D7E-56E2-4655-8113D59223A2}"/>
          </ac:spMkLst>
        </pc:spChg>
        <pc:spChg chg="mod">
          <ac:chgData name="Fatma Alsagaf" userId="ef587b5e-378a-4bb3-aa9f-3c15b98138a4" providerId="ADAL" clId="{C501D7D1-386F-4507-9267-B8938CF1C372}" dt="2023-10-10T12:31:24.789" v="1356" actId="165"/>
          <ac:spMkLst>
            <pc:docMk/>
            <pc:sldMk cId="2319192221" sldId="2147377171"/>
            <ac:spMk id="1278" creationId="{0ABB1E7E-45F5-E7A3-5094-C86D3516B102}"/>
          </ac:spMkLst>
        </pc:spChg>
        <pc:spChg chg="mod">
          <ac:chgData name="Fatma Alsagaf" userId="ef587b5e-378a-4bb3-aa9f-3c15b98138a4" providerId="ADAL" clId="{C501D7D1-386F-4507-9267-B8938CF1C372}" dt="2023-10-10T12:31:24.789" v="1356" actId="165"/>
          <ac:spMkLst>
            <pc:docMk/>
            <pc:sldMk cId="2319192221" sldId="2147377171"/>
            <ac:spMk id="1279" creationId="{6D63B5AC-62A5-2B26-214B-E057C50909E5}"/>
          </ac:spMkLst>
        </pc:spChg>
        <pc:spChg chg="mod">
          <ac:chgData name="Fatma Alsagaf" userId="ef587b5e-378a-4bb3-aa9f-3c15b98138a4" providerId="ADAL" clId="{C501D7D1-386F-4507-9267-B8938CF1C372}" dt="2023-10-10T12:22:08.219" v="1232"/>
          <ac:spMkLst>
            <pc:docMk/>
            <pc:sldMk cId="2319192221" sldId="2147377171"/>
            <ac:spMk id="1282" creationId="{A431B9AA-68F1-51E8-5943-C5DBFDA3AD81}"/>
          </ac:spMkLst>
        </pc:spChg>
        <pc:spChg chg="mod">
          <ac:chgData name="Fatma Alsagaf" userId="ef587b5e-378a-4bb3-aa9f-3c15b98138a4" providerId="ADAL" clId="{C501D7D1-386F-4507-9267-B8938CF1C372}" dt="2023-10-10T12:22:08.219" v="1232"/>
          <ac:spMkLst>
            <pc:docMk/>
            <pc:sldMk cId="2319192221" sldId="2147377171"/>
            <ac:spMk id="1283" creationId="{5BECD3B3-9049-C085-9658-FF8B4F73C65B}"/>
          </ac:spMkLst>
        </pc:spChg>
        <pc:spChg chg="mod">
          <ac:chgData name="Fatma Alsagaf" userId="ef587b5e-378a-4bb3-aa9f-3c15b98138a4" providerId="ADAL" clId="{C501D7D1-386F-4507-9267-B8938CF1C372}" dt="2023-10-10T12:22:08.219" v="1232"/>
          <ac:spMkLst>
            <pc:docMk/>
            <pc:sldMk cId="2319192221" sldId="2147377171"/>
            <ac:spMk id="1284" creationId="{B4F4AE64-A430-766E-FB64-F85A52CF7F66}"/>
          </ac:spMkLst>
        </pc:spChg>
        <pc:spChg chg="mod">
          <ac:chgData name="Fatma Alsagaf" userId="ef587b5e-378a-4bb3-aa9f-3c15b98138a4" providerId="ADAL" clId="{C501D7D1-386F-4507-9267-B8938CF1C372}" dt="2023-10-10T12:22:08.219" v="1232"/>
          <ac:spMkLst>
            <pc:docMk/>
            <pc:sldMk cId="2319192221" sldId="2147377171"/>
            <ac:spMk id="1285" creationId="{5E25F8CB-3EA4-7542-2820-63D14EC57CA5}"/>
          </ac:spMkLst>
        </pc:spChg>
        <pc:spChg chg="mod">
          <ac:chgData name="Fatma Alsagaf" userId="ef587b5e-378a-4bb3-aa9f-3c15b98138a4" providerId="ADAL" clId="{C501D7D1-386F-4507-9267-B8938CF1C372}" dt="2023-10-10T12:22:08.219" v="1232"/>
          <ac:spMkLst>
            <pc:docMk/>
            <pc:sldMk cId="2319192221" sldId="2147377171"/>
            <ac:spMk id="1286" creationId="{8DBFA07C-B664-E310-AA2E-4A9DD9B647EF}"/>
          </ac:spMkLst>
        </pc:spChg>
        <pc:spChg chg="mod">
          <ac:chgData name="Fatma Alsagaf" userId="ef587b5e-378a-4bb3-aa9f-3c15b98138a4" providerId="ADAL" clId="{C501D7D1-386F-4507-9267-B8938CF1C372}" dt="2023-10-10T12:22:08.219" v="1232"/>
          <ac:spMkLst>
            <pc:docMk/>
            <pc:sldMk cId="2319192221" sldId="2147377171"/>
            <ac:spMk id="1289" creationId="{BB12D54E-0611-174D-6445-CB9D9F98389E}"/>
          </ac:spMkLst>
        </pc:spChg>
        <pc:spChg chg="mod">
          <ac:chgData name="Fatma Alsagaf" userId="ef587b5e-378a-4bb3-aa9f-3c15b98138a4" providerId="ADAL" clId="{C501D7D1-386F-4507-9267-B8938CF1C372}" dt="2023-10-10T12:22:08.219" v="1232"/>
          <ac:spMkLst>
            <pc:docMk/>
            <pc:sldMk cId="2319192221" sldId="2147377171"/>
            <ac:spMk id="1290" creationId="{0AF2409F-D73C-0A4A-3474-E4EA57628E83}"/>
          </ac:spMkLst>
        </pc:spChg>
        <pc:spChg chg="mod">
          <ac:chgData name="Fatma Alsagaf" userId="ef587b5e-378a-4bb3-aa9f-3c15b98138a4" providerId="ADAL" clId="{C501D7D1-386F-4507-9267-B8938CF1C372}" dt="2023-10-10T12:22:08.219" v="1232"/>
          <ac:spMkLst>
            <pc:docMk/>
            <pc:sldMk cId="2319192221" sldId="2147377171"/>
            <ac:spMk id="1291" creationId="{E253E73C-55B5-3E26-B22D-19DC1D0CAE92}"/>
          </ac:spMkLst>
        </pc:spChg>
        <pc:spChg chg="mod">
          <ac:chgData name="Fatma Alsagaf" userId="ef587b5e-378a-4bb3-aa9f-3c15b98138a4" providerId="ADAL" clId="{C501D7D1-386F-4507-9267-B8938CF1C372}" dt="2023-10-10T12:22:08.219" v="1232"/>
          <ac:spMkLst>
            <pc:docMk/>
            <pc:sldMk cId="2319192221" sldId="2147377171"/>
            <ac:spMk id="1292" creationId="{4D11DEC0-288D-EE91-69A6-99D3C9BF54B5}"/>
          </ac:spMkLst>
        </pc:spChg>
        <pc:spChg chg="mod">
          <ac:chgData name="Fatma Alsagaf" userId="ef587b5e-378a-4bb3-aa9f-3c15b98138a4" providerId="ADAL" clId="{C501D7D1-386F-4507-9267-B8938CF1C372}" dt="2023-10-10T12:22:08.219" v="1232"/>
          <ac:spMkLst>
            <pc:docMk/>
            <pc:sldMk cId="2319192221" sldId="2147377171"/>
            <ac:spMk id="1293" creationId="{8D2F6F0A-8BE6-D4CB-F3EA-12AECC61F818}"/>
          </ac:spMkLst>
        </pc:spChg>
        <pc:spChg chg="mod">
          <ac:chgData name="Fatma Alsagaf" userId="ef587b5e-378a-4bb3-aa9f-3c15b98138a4" providerId="ADAL" clId="{C501D7D1-386F-4507-9267-B8938CF1C372}" dt="2023-10-10T12:27:18.730" v="1301" actId="20577"/>
          <ac:spMkLst>
            <pc:docMk/>
            <pc:sldMk cId="2319192221" sldId="2147377171"/>
            <ac:spMk id="1296" creationId="{A5400198-0D97-3C02-1CE9-8F7C5A782245}"/>
          </ac:spMkLst>
        </pc:spChg>
        <pc:spChg chg="mod">
          <ac:chgData name="Fatma Alsagaf" userId="ef587b5e-378a-4bb3-aa9f-3c15b98138a4" providerId="ADAL" clId="{C501D7D1-386F-4507-9267-B8938CF1C372}" dt="2023-10-10T12:22:11.431" v="1236"/>
          <ac:spMkLst>
            <pc:docMk/>
            <pc:sldMk cId="2319192221" sldId="2147377171"/>
            <ac:spMk id="1297" creationId="{2926CD23-8B71-0F65-3247-F5D54361EBD4}"/>
          </ac:spMkLst>
        </pc:spChg>
        <pc:spChg chg="mod">
          <ac:chgData name="Fatma Alsagaf" userId="ef587b5e-378a-4bb3-aa9f-3c15b98138a4" providerId="ADAL" clId="{C501D7D1-386F-4507-9267-B8938CF1C372}" dt="2023-10-10T12:24:47.731" v="1260"/>
          <ac:spMkLst>
            <pc:docMk/>
            <pc:sldMk cId="2319192221" sldId="2147377171"/>
            <ac:spMk id="1298" creationId="{2D67064F-E9FC-621C-E6C8-9C35B2D06D6E}"/>
          </ac:spMkLst>
        </pc:spChg>
        <pc:spChg chg="mod">
          <ac:chgData name="Fatma Alsagaf" userId="ef587b5e-378a-4bb3-aa9f-3c15b98138a4" providerId="ADAL" clId="{C501D7D1-386F-4507-9267-B8938CF1C372}" dt="2023-10-10T12:28:25.857" v="1321" actId="20577"/>
          <ac:spMkLst>
            <pc:docMk/>
            <pc:sldMk cId="2319192221" sldId="2147377171"/>
            <ac:spMk id="1299" creationId="{31B16352-84AA-2ADE-A081-3633D436928E}"/>
          </ac:spMkLst>
        </pc:spChg>
        <pc:spChg chg="mod">
          <ac:chgData name="Fatma Alsagaf" userId="ef587b5e-378a-4bb3-aa9f-3c15b98138a4" providerId="ADAL" clId="{C501D7D1-386F-4507-9267-B8938CF1C372}" dt="2023-10-10T12:22:11.431" v="1236"/>
          <ac:spMkLst>
            <pc:docMk/>
            <pc:sldMk cId="2319192221" sldId="2147377171"/>
            <ac:spMk id="1300" creationId="{0AB35A4A-8035-5FDB-6F8F-D66FF801BE7B}"/>
          </ac:spMkLst>
        </pc:spChg>
        <pc:spChg chg="mod">
          <ac:chgData name="Fatma Alsagaf" userId="ef587b5e-378a-4bb3-aa9f-3c15b98138a4" providerId="ADAL" clId="{C501D7D1-386F-4507-9267-B8938CF1C372}" dt="2023-10-10T12:27:23.033" v="1303" actId="20577"/>
          <ac:spMkLst>
            <pc:docMk/>
            <pc:sldMk cId="2319192221" sldId="2147377171"/>
            <ac:spMk id="1303" creationId="{BDFAE9F8-60F6-80CB-5ED5-B388A37D5E76}"/>
          </ac:spMkLst>
        </pc:spChg>
        <pc:spChg chg="mod">
          <ac:chgData name="Fatma Alsagaf" userId="ef587b5e-378a-4bb3-aa9f-3c15b98138a4" providerId="ADAL" clId="{C501D7D1-386F-4507-9267-B8938CF1C372}" dt="2023-10-10T12:22:11.431" v="1236"/>
          <ac:spMkLst>
            <pc:docMk/>
            <pc:sldMk cId="2319192221" sldId="2147377171"/>
            <ac:spMk id="1304" creationId="{B790DBC5-D4E9-C9F6-153C-AC93193DB2A0}"/>
          </ac:spMkLst>
        </pc:spChg>
        <pc:spChg chg="mod">
          <ac:chgData name="Fatma Alsagaf" userId="ef587b5e-378a-4bb3-aa9f-3c15b98138a4" providerId="ADAL" clId="{C501D7D1-386F-4507-9267-B8938CF1C372}" dt="2023-10-10T12:24:57.992" v="1262" actId="1076"/>
          <ac:spMkLst>
            <pc:docMk/>
            <pc:sldMk cId="2319192221" sldId="2147377171"/>
            <ac:spMk id="1305" creationId="{9AF67873-8AA6-FEC7-D754-8086E4F6FDD2}"/>
          </ac:spMkLst>
        </pc:spChg>
        <pc:spChg chg="mod">
          <ac:chgData name="Fatma Alsagaf" userId="ef587b5e-378a-4bb3-aa9f-3c15b98138a4" providerId="ADAL" clId="{C501D7D1-386F-4507-9267-B8938CF1C372}" dt="2023-10-10T12:28:30.245" v="1325" actId="20577"/>
          <ac:spMkLst>
            <pc:docMk/>
            <pc:sldMk cId="2319192221" sldId="2147377171"/>
            <ac:spMk id="1306" creationId="{50162F71-D083-267B-9BE7-B446562D83AA}"/>
          </ac:spMkLst>
        </pc:spChg>
        <pc:spChg chg="mod">
          <ac:chgData name="Fatma Alsagaf" userId="ef587b5e-378a-4bb3-aa9f-3c15b98138a4" providerId="ADAL" clId="{C501D7D1-386F-4507-9267-B8938CF1C372}" dt="2023-10-10T12:22:11.431" v="1236"/>
          <ac:spMkLst>
            <pc:docMk/>
            <pc:sldMk cId="2319192221" sldId="2147377171"/>
            <ac:spMk id="1307" creationId="{A00457E5-F906-DDCB-8EF3-A176903AFF2C}"/>
          </ac:spMkLst>
        </pc:spChg>
        <pc:spChg chg="mod">
          <ac:chgData name="Fatma Alsagaf" userId="ef587b5e-378a-4bb3-aa9f-3c15b98138a4" providerId="ADAL" clId="{C501D7D1-386F-4507-9267-B8938CF1C372}" dt="2023-10-10T12:27:27.143" v="1305" actId="20577"/>
          <ac:spMkLst>
            <pc:docMk/>
            <pc:sldMk cId="2319192221" sldId="2147377171"/>
            <ac:spMk id="1310" creationId="{CF64B3E5-FFE3-73F7-F6C5-AAD36A7EDFFC}"/>
          </ac:spMkLst>
        </pc:spChg>
        <pc:spChg chg="mod">
          <ac:chgData name="Fatma Alsagaf" userId="ef587b5e-378a-4bb3-aa9f-3c15b98138a4" providerId="ADAL" clId="{C501D7D1-386F-4507-9267-B8938CF1C372}" dt="2023-10-10T12:22:20.202" v="1238"/>
          <ac:spMkLst>
            <pc:docMk/>
            <pc:sldMk cId="2319192221" sldId="2147377171"/>
            <ac:spMk id="1311" creationId="{5DC37C31-706C-F898-ABA7-54D823C67D07}"/>
          </ac:spMkLst>
        </pc:spChg>
        <pc:spChg chg="mod">
          <ac:chgData name="Fatma Alsagaf" userId="ef587b5e-378a-4bb3-aa9f-3c15b98138a4" providerId="ADAL" clId="{C501D7D1-386F-4507-9267-B8938CF1C372}" dt="2023-10-10T12:25:08.317" v="1266"/>
          <ac:spMkLst>
            <pc:docMk/>
            <pc:sldMk cId="2319192221" sldId="2147377171"/>
            <ac:spMk id="1312" creationId="{84276A8F-8739-5152-40DB-9A4E18F8CCD8}"/>
          </ac:spMkLst>
        </pc:spChg>
        <pc:spChg chg="mod">
          <ac:chgData name="Fatma Alsagaf" userId="ef587b5e-378a-4bb3-aa9f-3c15b98138a4" providerId="ADAL" clId="{C501D7D1-386F-4507-9267-B8938CF1C372}" dt="2023-10-10T12:28:34.485" v="1326" actId="20577"/>
          <ac:spMkLst>
            <pc:docMk/>
            <pc:sldMk cId="2319192221" sldId="2147377171"/>
            <ac:spMk id="1313" creationId="{5A0F952B-ABE8-86BD-88F7-1C55C72BCA56}"/>
          </ac:spMkLst>
        </pc:spChg>
        <pc:spChg chg="mod">
          <ac:chgData name="Fatma Alsagaf" userId="ef587b5e-378a-4bb3-aa9f-3c15b98138a4" providerId="ADAL" clId="{C501D7D1-386F-4507-9267-B8938CF1C372}" dt="2023-10-10T12:22:20.202" v="1238"/>
          <ac:spMkLst>
            <pc:docMk/>
            <pc:sldMk cId="2319192221" sldId="2147377171"/>
            <ac:spMk id="1314" creationId="{01A39ABC-620D-3934-900E-272C57E93DA2}"/>
          </ac:spMkLst>
        </pc:spChg>
        <pc:spChg chg="mod">
          <ac:chgData name="Fatma Alsagaf" userId="ef587b5e-378a-4bb3-aa9f-3c15b98138a4" providerId="ADAL" clId="{C501D7D1-386F-4507-9267-B8938CF1C372}" dt="2023-10-10T12:27:31.820" v="1307" actId="20577"/>
          <ac:spMkLst>
            <pc:docMk/>
            <pc:sldMk cId="2319192221" sldId="2147377171"/>
            <ac:spMk id="1317" creationId="{3333C4C1-FA1C-AA8C-48D6-015CAD44D26E}"/>
          </ac:spMkLst>
        </pc:spChg>
        <pc:spChg chg="mod">
          <ac:chgData name="Fatma Alsagaf" userId="ef587b5e-378a-4bb3-aa9f-3c15b98138a4" providerId="ADAL" clId="{C501D7D1-386F-4507-9267-B8938CF1C372}" dt="2023-10-10T12:22:20.202" v="1238"/>
          <ac:spMkLst>
            <pc:docMk/>
            <pc:sldMk cId="2319192221" sldId="2147377171"/>
            <ac:spMk id="1318" creationId="{E178ABA9-0DDE-63C6-3A83-EBC100E383A2}"/>
          </ac:spMkLst>
        </pc:spChg>
        <pc:spChg chg="mod">
          <ac:chgData name="Fatma Alsagaf" userId="ef587b5e-378a-4bb3-aa9f-3c15b98138a4" providerId="ADAL" clId="{C501D7D1-386F-4507-9267-B8938CF1C372}" dt="2023-10-10T12:25:16.808" v="1268" actId="1076"/>
          <ac:spMkLst>
            <pc:docMk/>
            <pc:sldMk cId="2319192221" sldId="2147377171"/>
            <ac:spMk id="1319" creationId="{A25EF7AA-2A55-7B0F-5569-B855DDCC5913}"/>
          </ac:spMkLst>
        </pc:spChg>
        <pc:spChg chg="mod">
          <ac:chgData name="Fatma Alsagaf" userId="ef587b5e-378a-4bb3-aa9f-3c15b98138a4" providerId="ADAL" clId="{C501D7D1-386F-4507-9267-B8938CF1C372}" dt="2023-10-10T12:28:38.144" v="1327" actId="6549"/>
          <ac:spMkLst>
            <pc:docMk/>
            <pc:sldMk cId="2319192221" sldId="2147377171"/>
            <ac:spMk id="1320" creationId="{CA9B1E68-E5CD-B072-0575-51FE30B6A5BC}"/>
          </ac:spMkLst>
        </pc:spChg>
        <pc:spChg chg="mod">
          <ac:chgData name="Fatma Alsagaf" userId="ef587b5e-378a-4bb3-aa9f-3c15b98138a4" providerId="ADAL" clId="{C501D7D1-386F-4507-9267-B8938CF1C372}" dt="2023-10-10T12:22:20.202" v="1238"/>
          <ac:spMkLst>
            <pc:docMk/>
            <pc:sldMk cId="2319192221" sldId="2147377171"/>
            <ac:spMk id="1321" creationId="{95729C85-BBAD-5EF3-6600-1710DAFFBD5A}"/>
          </ac:spMkLst>
        </pc:spChg>
        <pc:spChg chg="mod">
          <ac:chgData name="Fatma Alsagaf" userId="ef587b5e-378a-4bb3-aa9f-3c15b98138a4" providerId="ADAL" clId="{C501D7D1-386F-4507-9267-B8938CF1C372}" dt="2023-10-10T12:27:39.959" v="1309" actId="20577"/>
          <ac:spMkLst>
            <pc:docMk/>
            <pc:sldMk cId="2319192221" sldId="2147377171"/>
            <ac:spMk id="1324" creationId="{A63D1456-1499-330E-F7C8-5CE80B972FA0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25" creationId="{DA1F3362-93E0-DAE5-B5D0-63A0D1089D08}"/>
          </ac:spMkLst>
        </pc:spChg>
        <pc:spChg chg="mod">
          <ac:chgData name="Fatma Alsagaf" userId="ef587b5e-378a-4bb3-aa9f-3c15b98138a4" providerId="ADAL" clId="{C501D7D1-386F-4507-9267-B8938CF1C372}" dt="2023-10-10T12:25:47.272" v="1280" actId="1076"/>
          <ac:spMkLst>
            <pc:docMk/>
            <pc:sldMk cId="2319192221" sldId="2147377171"/>
            <ac:spMk id="1326" creationId="{39A4F4BA-6F9E-3C9A-A8A9-ADC4A09E48D2}"/>
          </ac:spMkLst>
        </pc:spChg>
        <pc:spChg chg="mod">
          <ac:chgData name="Fatma Alsagaf" userId="ef587b5e-378a-4bb3-aa9f-3c15b98138a4" providerId="ADAL" clId="{C501D7D1-386F-4507-9267-B8938CF1C372}" dt="2023-10-10T12:28:41.859" v="1330" actId="20577"/>
          <ac:spMkLst>
            <pc:docMk/>
            <pc:sldMk cId="2319192221" sldId="2147377171"/>
            <ac:spMk id="1327" creationId="{28E4A7D1-F169-C48E-CBD5-AB561B90AD1F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28" creationId="{7CCD8C17-1716-E5A2-9659-A6F7092ED473}"/>
          </ac:spMkLst>
        </pc:spChg>
        <pc:spChg chg="mod">
          <ac:chgData name="Fatma Alsagaf" userId="ef587b5e-378a-4bb3-aa9f-3c15b98138a4" providerId="ADAL" clId="{C501D7D1-386F-4507-9267-B8938CF1C372}" dt="2023-10-10T12:27:51.856" v="1310" actId="20577"/>
          <ac:spMkLst>
            <pc:docMk/>
            <pc:sldMk cId="2319192221" sldId="2147377171"/>
            <ac:spMk id="1331" creationId="{A347CE9C-51A3-9A15-0D45-CF55E9C0E665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32" creationId="{68234D61-207F-1E3D-BCF2-E59964E1C223}"/>
          </ac:spMkLst>
        </pc:spChg>
        <pc:spChg chg="mod">
          <ac:chgData name="Fatma Alsagaf" userId="ef587b5e-378a-4bb3-aa9f-3c15b98138a4" providerId="ADAL" clId="{C501D7D1-386F-4507-9267-B8938CF1C372}" dt="2023-10-10T12:25:56.620" v="1282" actId="14100"/>
          <ac:spMkLst>
            <pc:docMk/>
            <pc:sldMk cId="2319192221" sldId="2147377171"/>
            <ac:spMk id="1333" creationId="{34C36C44-8E8E-28CD-FD5B-488A0011589A}"/>
          </ac:spMkLst>
        </pc:spChg>
        <pc:spChg chg="mod">
          <ac:chgData name="Fatma Alsagaf" userId="ef587b5e-378a-4bb3-aa9f-3c15b98138a4" providerId="ADAL" clId="{C501D7D1-386F-4507-9267-B8938CF1C372}" dt="2023-10-10T12:28:48.151" v="1333" actId="20577"/>
          <ac:spMkLst>
            <pc:docMk/>
            <pc:sldMk cId="2319192221" sldId="2147377171"/>
            <ac:spMk id="1334" creationId="{83DE7DFF-EF84-A5DA-4ED6-818DB495E8A5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35" creationId="{B1CABEF7-1351-0A57-EA73-E1D3A4C1BE02}"/>
          </ac:spMkLst>
        </pc:spChg>
        <pc:spChg chg="mod">
          <ac:chgData name="Fatma Alsagaf" userId="ef587b5e-378a-4bb3-aa9f-3c15b98138a4" providerId="ADAL" clId="{C501D7D1-386F-4507-9267-B8938CF1C372}" dt="2023-10-10T12:27:55.770" v="1311" actId="20577"/>
          <ac:spMkLst>
            <pc:docMk/>
            <pc:sldMk cId="2319192221" sldId="2147377171"/>
            <ac:spMk id="1338" creationId="{260954F9-C1D0-B488-9D40-F327D5E8E4D0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39" creationId="{1BE520C0-DBCE-6B24-CDB4-0BF7C9341ABD}"/>
          </ac:spMkLst>
        </pc:spChg>
        <pc:spChg chg="mod">
          <ac:chgData name="Fatma Alsagaf" userId="ef587b5e-378a-4bb3-aa9f-3c15b98138a4" providerId="ADAL" clId="{C501D7D1-386F-4507-9267-B8938CF1C372}" dt="2023-10-10T12:26:01.901" v="1283"/>
          <ac:spMkLst>
            <pc:docMk/>
            <pc:sldMk cId="2319192221" sldId="2147377171"/>
            <ac:spMk id="1340" creationId="{B7C2564E-E10E-FD48-32C8-88300C0798FB}"/>
          </ac:spMkLst>
        </pc:spChg>
        <pc:spChg chg="mod">
          <ac:chgData name="Fatma Alsagaf" userId="ef587b5e-378a-4bb3-aa9f-3c15b98138a4" providerId="ADAL" clId="{C501D7D1-386F-4507-9267-B8938CF1C372}" dt="2023-10-10T12:28:52.272" v="1336" actId="20577"/>
          <ac:spMkLst>
            <pc:docMk/>
            <pc:sldMk cId="2319192221" sldId="2147377171"/>
            <ac:spMk id="1341" creationId="{D4F74DA7-D027-A97F-1A96-BCE75BFF7038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42" creationId="{B6202B3A-B9A7-A016-C2E8-87C2073B2887}"/>
          </ac:spMkLst>
        </pc:spChg>
        <pc:spChg chg="mod">
          <ac:chgData name="Fatma Alsagaf" userId="ef587b5e-378a-4bb3-aa9f-3c15b98138a4" providerId="ADAL" clId="{C501D7D1-386F-4507-9267-B8938CF1C372}" dt="2023-10-10T12:27:58.766" v="1314" actId="20577"/>
          <ac:spMkLst>
            <pc:docMk/>
            <pc:sldMk cId="2319192221" sldId="2147377171"/>
            <ac:spMk id="1345" creationId="{0278B947-AC30-E645-81A7-FA152E046B73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46" creationId="{C7AB1AC5-19C2-D00F-D831-4CE800EC7E9C}"/>
          </ac:spMkLst>
        </pc:spChg>
        <pc:spChg chg="mod">
          <ac:chgData name="Fatma Alsagaf" userId="ef587b5e-378a-4bb3-aa9f-3c15b98138a4" providerId="ADAL" clId="{C501D7D1-386F-4507-9267-B8938CF1C372}" dt="2023-10-10T12:26:24.172" v="1287" actId="1076"/>
          <ac:spMkLst>
            <pc:docMk/>
            <pc:sldMk cId="2319192221" sldId="2147377171"/>
            <ac:spMk id="1347" creationId="{85F2A40E-EE6E-703D-6AAF-C96F5D4F5AF9}"/>
          </ac:spMkLst>
        </pc:spChg>
        <pc:spChg chg="mod">
          <ac:chgData name="Fatma Alsagaf" userId="ef587b5e-378a-4bb3-aa9f-3c15b98138a4" providerId="ADAL" clId="{C501D7D1-386F-4507-9267-B8938CF1C372}" dt="2023-10-10T12:28:56.644" v="1339" actId="20577"/>
          <ac:spMkLst>
            <pc:docMk/>
            <pc:sldMk cId="2319192221" sldId="2147377171"/>
            <ac:spMk id="1348" creationId="{69CE661A-BC82-3BC9-6E43-8B474AE8D559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49" creationId="{5C7A5EAD-EB71-7100-05DE-857CF049F473}"/>
          </ac:spMkLst>
        </pc:spChg>
        <pc:spChg chg="mod">
          <ac:chgData name="Fatma Alsagaf" userId="ef587b5e-378a-4bb3-aa9f-3c15b98138a4" providerId="ADAL" clId="{C501D7D1-386F-4507-9267-B8938CF1C372}" dt="2023-10-10T12:28:02.688" v="1315" actId="20577"/>
          <ac:spMkLst>
            <pc:docMk/>
            <pc:sldMk cId="2319192221" sldId="2147377171"/>
            <ac:spMk id="1352" creationId="{20C4259F-77B3-FA58-6834-6BFF206A962C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53" creationId="{4E306167-2279-E135-FB37-E82BA2AEC931}"/>
          </ac:spMkLst>
        </pc:spChg>
        <pc:spChg chg="mod">
          <ac:chgData name="Fatma Alsagaf" userId="ef587b5e-378a-4bb3-aa9f-3c15b98138a4" providerId="ADAL" clId="{C501D7D1-386F-4507-9267-B8938CF1C372}" dt="2023-10-10T12:26:30.090" v="1288"/>
          <ac:spMkLst>
            <pc:docMk/>
            <pc:sldMk cId="2319192221" sldId="2147377171"/>
            <ac:spMk id="1354" creationId="{790DEA05-39EF-6457-AEE4-D6E446710823}"/>
          </ac:spMkLst>
        </pc:spChg>
        <pc:spChg chg="mod">
          <ac:chgData name="Fatma Alsagaf" userId="ef587b5e-378a-4bb3-aa9f-3c15b98138a4" providerId="ADAL" clId="{C501D7D1-386F-4507-9267-B8938CF1C372}" dt="2023-10-10T12:29:00.218" v="1342" actId="20577"/>
          <ac:spMkLst>
            <pc:docMk/>
            <pc:sldMk cId="2319192221" sldId="2147377171"/>
            <ac:spMk id="1355" creationId="{D96F8C50-74F0-9360-B282-2FB7979D6FC8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56" creationId="{BBCD313A-B905-B2E3-70A2-574CDEC9795E}"/>
          </ac:spMkLst>
        </pc:spChg>
        <pc:spChg chg="mod">
          <ac:chgData name="Fatma Alsagaf" userId="ef587b5e-378a-4bb3-aa9f-3c15b98138a4" providerId="ADAL" clId="{C501D7D1-386F-4507-9267-B8938CF1C372}" dt="2023-10-10T12:28:04.837" v="1316" actId="20577"/>
          <ac:spMkLst>
            <pc:docMk/>
            <pc:sldMk cId="2319192221" sldId="2147377171"/>
            <ac:spMk id="1359" creationId="{6D952D0F-A283-2269-1F82-1232EAF4276F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60" creationId="{AB568610-5849-3650-E89E-30A02B8D2BF0}"/>
          </ac:spMkLst>
        </pc:spChg>
        <pc:spChg chg="mod">
          <ac:chgData name="Fatma Alsagaf" userId="ef587b5e-378a-4bb3-aa9f-3c15b98138a4" providerId="ADAL" clId="{C501D7D1-386F-4507-9267-B8938CF1C372}" dt="2023-10-10T12:26:37.935" v="1290" actId="14100"/>
          <ac:spMkLst>
            <pc:docMk/>
            <pc:sldMk cId="2319192221" sldId="2147377171"/>
            <ac:spMk id="1361" creationId="{7A759B7B-E8DD-C353-F052-4711B84D9E12}"/>
          </ac:spMkLst>
        </pc:spChg>
        <pc:spChg chg="mod">
          <ac:chgData name="Fatma Alsagaf" userId="ef587b5e-378a-4bb3-aa9f-3c15b98138a4" providerId="ADAL" clId="{C501D7D1-386F-4507-9267-B8938CF1C372}" dt="2023-10-10T12:29:20.025" v="1345" actId="6549"/>
          <ac:spMkLst>
            <pc:docMk/>
            <pc:sldMk cId="2319192221" sldId="2147377171"/>
            <ac:spMk id="1362" creationId="{405B6C47-F89C-460E-8C5A-6B5AF745DF1A}"/>
          </ac:spMkLst>
        </pc:spChg>
        <pc:spChg chg="mod">
          <ac:chgData name="Fatma Alsagaf" userId="ef587b5e-378a-4bb3-aa9f-3c15b98138a4" providerId="ADAL" clId="{C501D7D1-386F-4507-9267-B8938CF1C372}" dt="2023-10-10T12:23:01.092" v="1243"/>
          <ac:spMkLst>
            <pc:docMk/>
            <pc:sldMk cId="2319192221" sldId="2147377171"/>
            <ac:spMk id="1363" creationId="{0907F21D-06EC-CEE4-F17C-4E0EF55E9E02}"/>
          </ac:spMkLst>
        </pc:spChg>
        <pc:spChg chg="mod">
          <ac:chgData name="Fatma Alsagaf" userId="ef587b5e-378a-4bb3-aa9f-3c15b98138a4" providerId="ADAL" clId="{C501D7D1-386F-4507-9267-B8938CF1C372}" dt="2023-10-10T12:28:06.523" v="1317" actId="20577"/>
          <ac:spMkLst>
            <pc:docMk/>
            <pc:sldMk cId="2319192221" sldId="2147377171"/>
            <ac:spMk id="1366" creationId="{3CCF56E3-AA77-5BDB-96AC-D34148D117DB}"/>
          </ac:spMkLst>
        </pc:spChg>
        <pc:spChg chg="mod">
          <ac:chgData name="Fatma Alsagaf" userId="ef587b5e-378a-4bb3-aa9f-3c15b98138a4" providerId="ADAL" clId="{C501D7D1-386F-4507-9267-B8938CF1C372}" dt="2023-10-10T12:26:41.634" v="1291"/>
          <ac:spMkLst>
            <pc:docMk/>
            <pc:sldMk cId="2319192221" sldId="2147377171"/>
            <ac:spMk id="1367" creationId="{20C3143B-67C1-3AF7-7A27-59DFE135BDFF}"/>
          </ac:spMkLst>
        </pc:spChg>
        <pc:spChg chg="mod">
          <ac:chgData name="Fatma Alsagaf" userId="ef587b5e-378a-4bb3-aa9f-3c15b98138a4" providerId="ADAL" clId="{C501D7D1-386F-4507-9267-B8938CF1C372}" dt="2023-10-10T12:26:58.004" v="1299" actId="6549"/>
          <ac:spMkLst>
            <pc:docMk/>
            <pc:sldMk cId="2319192221" sldId="2147377171"/>
            <ac:spMk id="1368" creationId="{70C0B493-3E60-6247-EC53-DC9D53832C3B}"/>
          </ac:spMkLst>
        </pc:spChg>
        <pc:spChg chg="mod">
          <ac:chgData name="Fatma Alsagaf" userId="ef587b5e-378a-4bb3-aa9f-3c15b98138a4" providerId="ADAL" clId="{C501D7D1-386F-4507-9267-B8938CF1C372}" dt="2023-10-10T12:31:29.352" v="1358" actId="20577"/>
          <ac:spMkLst>
            <pc:docMk/>
            <pc:sldMk cId="2319192221" sldId="2147377171"/>
            <ac:spMk id="1369" creationId="{03BE9CB7-B22F-F7AA-2391-BAC4546A2CB1}"/>
          </ac:spMkLst>
        </pc:spChg>
        <pc:spChg chg="mod">
          <ac:chgData name="Fatma Alsagaf" userId="ef587b5e-378a-4bb3-aa9f-3c15b98138a4" providerId="ADAL" clId="{C501D7D1-386F-4507-9267-B8938CF1C372}" dt="2023-10-10T12:26:41.634" v="1291"/>
          <ac:spMkLst>
            <pc:docMk/>
            <pc:sldMk cId="2319192221" sldId="2147377171"/>
            <ac:spMk id="1370" creationId="{F3358388-E037-793F-496D-984416B5B403}"/>
          </ac:spMkLst>
        </pc:spChg>
        <pc:spChg chg="add mod">
          <ac:chgData name="Fatma Alsagaf" userId="ef587b5e-378a-4bb3-aa9f-3c15b98138a4" providerId="ADAL" clId="{C501D7D1-386F-4507-9267-B8938CF1C372}" dt="2023-10-10T12:41:15.293" v="1431" actId="1076"/>
          <ac:spMkLst>
            <pc:docMk/>
            <pc:sldMk cId="2319192221" sldId="2147377171"/>
            <ac:spMk id="1371" creationId="{EB9708C1-7240-7000-E969-FBD150EB3D7D}"/>
          </ac:spMkLst>
        </pc:spChg>
        <pc:grpChg chg="add del mod">
          <ac:chgData name="Fatma Alsagaf" userId="ef587b5e-378a-4bb3-aa9f-3c15b98138a4" providerId="ADAL" clId="{C501D7D1-386F-4507-9267-B8938CF1C372}" dt="2023-10-10T05:58:18.489" v="181"/>
          <ac:grpSpMkLst>
            <pc:docMk/>
            <pc:sldMk cId="2319192221" sldId="2147377171"/>
            <ac:grpSpMk id="21" creationId="{D9CBF718-343F-18EB-158E-0672BD0D8200}"/>
          </ac:grpSpMkLst>
        </pc:grpChg>
        <pc:grpChg chg="add del mod">
          <ac:chgData name="Fatma Alsagaf" userId="ef587b5e-378a-4bb3-aa9f-3c15b98138a4" providerId="ADAL" clId="{C501D7D1-386F-4507-9267-B8938CF1C372}" dt="2023-10-10T07:43:12.805" v="437" actId="478"/>
          <ac:grpSpMkLst>
            <pc:docMk/>
            <pc:sldMk cId="2319192221" sldId="2147377171"/>
            <ac:grpSpMk id="40" creationId="{DBA52F8B-E2DA-9110-A28F-E6B752D524BE}"/>
          </ac:grpSpMkLst>
        </pc:grpChg>
        <pc:grpChg chg="add del mod">
          <ac:chgData name="Fatma Alsagaf" userId="ef587b5e-378a-4bb3-aa9f-3c15b98138a4" providerId="ADAL" clId="{C501D7D1-386F-4507-9267-B8938CF1C372}" dt="2023-10-17T12:26:31.601" v="1507" actId="478"/>
          <ac:grpSpMkLst>
            <pc:docMk/>
            <pc:sldMk cId="2319192221" sldId="2147377171"/>
            <ac:grpSpMk id="51" creationId="{6AE65ECE-A068-630D-8AAF-A12D5CC310BF}"/>
          </ac:grpSpMkLst>
        </pc:grpChg>
        <pc:grpChg chg="add del mod">
          <ac:chgData name="Fatma Alsagaf" userId="ef587b5e-378a-4bb3-aa9f-3c15b98138a4" providerId="ADAL" clId="{C501D7D1-386F-4507-9267-B8938CF1C372}" dt="2023-10-10T06:23:33.638" v="369"/>
          <ac:grpSpMkLst>
            <pc:docMk/>
            <pc:sldMk cId="2319192221" sldId="2147377171"/>
            <ac:grpSpMk id="55" creationId="{2BFAF4D8-3F5A-2534-693D-34FD7A48FBA0}"/>
          </ac:grpSpMkLst>
        </pc:grpChg>
        <pc:grpChg chg="add del mod">
          <ac:chgData name="Fatma Alsagaf" userId="ef587b5e-378a-4bb3-aa9f-3c15b98138a4" providerId="ADAL" clId="{C501D7D1-386F-4507-9267-B8938CF1C372}" dt="2023-10-17T12:26:32.703" v="1510" actId="1035"/>
          <ac:grpSpMkLst>
            <pc:docMk/>
            <pc:sldMk cId="2319192221" sldId="2147377171"/>
            <ac:grpSpMk id="61" creationId="{EDDC15F9-AF60-C450-A514-6A46E3ACD841}"/>
          </ac:grpSpMkLst>
        </pc:grpChg>
        <pc:grpChg chg="add del mod">
          <ac:chgData name="Fatma Alsagaf" userId="ef587b5e-378a-4bb3-aa9f-3c15b98138a4" providerId="ADAL" clId="{C501D7D1-386F-4507-9267-B8938CF1C372}" dt="2023-10-10T07:43:12.805" v="437" actId="478"/>
          <ac:grpSpMkLst>
            <pc:docMk/>
            <pc:sldMk cId="2319192221" sldId="2147377171"/>
            <ac:grpSpMk id="132" creationId="{C17EA3CB-28C1-56D5-1C8A-47F07C6055EB}"/>
          </ac:grpSpMkLst>
        </pc:grpChg>
        <pc:grpChg chg="add mod">
          <ac:chgData name="Fatma Alsagaf" userId="ef587b5e-378a-4bb3-aa9f-3c15b98138a4" providerId="ADAL" clId="{C501D7D1-386F-4507-9267-B8938CF1C372}" dt="2023-10-12T06:05:19.787" v="1470" actId="1076"/>
          <ac:grpSpMkLst>
            <pc:docMk/>
            <pc:sldMk cId="2319192221" sldId="2147377171"/>
            <ac:grpSpMk id="138" creationId="{3305E62E-F60E-03A3-707B-077F08CF5F0D}"/>
          </ac:grpSpMkLst>
        </pc:grpChg>
        <pc:grpChg chg="add mod">
          <ac:chgData name="Fatma Alsagaf" userId="ef587b5e-378a-4bb3-aa9f-3c15b98138a4" providerId="ADAL" clId="{C501D7D1-386F-4507-9267-B8938CF1C372}" dt="2023-10-12T06:05:19.787" v="1470" actId="1076"/>
          <ac:grpSpMkLst>
            <pc:docMk/>
            <pc:sldMk cId="2319192221" sldId="2147377171"/>
            <ac:grpSpMk id="141" creationId="{CE8DD62E-4A52-98F4-9800-03F68D8CB147}"/>
          </ac:grpSpMkLst>
        </pc:grpChg>
        <pc:grpChg chg="add mod">
          <ac:chgData name="Fatma Alsagaf" userId="ef587b5e-378a-4bb3-aa9f-3c15b98138a4" providerId="ADAL" clId="{C501D7D1-386F-4507-9267-B8938CF1C372}" dt="2023-10-12T06:05:19.787" v="1470" actId="1076"/>
          <ac:grpSpMkLst>
            <pc:docMk/>
            <pc:sldMk cId="2319192221" sldId="2147377171"/>
            <ac:grpSpMk id="144" creationId="{6400AD6C-64DF-A707-E503-FB83921AA7BB}"/>
          </ac:grpSpMkLst>
        </pc:grpChg>
        <pc:grpChg chg="add del mod">
          <ac:chgData name="Fatma Alsagaf" userId="ef587b5e-378a-4bb3-aa9f-3c15b98138a4" providerId="ADAL" clId="{C501D7D1-386F-4507-9267-B8938CF1C372}" dt="2023-10-10T08:03:00.640" v="502" actId="478"/>
          <ac:grpSpMkLst>
            <pc:docMk/>
            <pc:sldMk cId="2319192221" sldId="2147377171"/>
            <ac:grpSpMk id="147" creationId="{AE6AC75F-A81D-6A56-CE80-99F9FB69B20C}"/>
          </ac:grpSpMkLst>
        </pc:grpChg>
        <pc:grpChg chg="add mod">
          <ac:chgData name="Fatma Alsagaf" userId="ef587b5e-378a-4bb3-aa9f-3c15b98138a4" providerId="ADAL" clId="{C501D7D1-386F-4507-9267-B8938CF1C372}" dt="2023-10-10T10:15:44.872" v="635" actId="1076"/>
          <ac:grpSpMkLst>
            <pc:docMk/>
            <pc:sldMk cId="2319192221" sldId="2147377171"/>
            <ac:grpSpMk id="165" creationId="{7E99AF43-DFB4-97D5-73B0-FBECA7DC882E}"/>
          </ac:grpSpMkLst>
        </pc:grpChg>
        <pc:grpChg chg="add mod">
          <ac:chgData name="Fatma Alsagaf" userId="ef587b5e-378a-4bb3-aa9f-3c15b98138a4" providerId="ADAL" clId="{C501D7D1-386F-4507-9267-B8938CF1C372}" dt="2023-10-10T10:36:02.524" v="891" actId="164"/>
          <ac:grpSpMkLst>
            <pc:docMk/>
            <pc:sldMk cId="2319192221" sldId="2147377171"/>
            <ac:grpSpMk id="171" creationId="{DF4A263E-F69A-21AA-AEF5-5A840BA47796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199" creationId="{0EED1BBD-458F-FACB-5974-B52170662AA1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03" creationId="{183644DA-660A-5381-DBBC-27E0DDA396DB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19" creationId="{AAFDDD9A-A502-24AB-5BCA-7110BC55BA0D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22" creationId="{FAD2354C-8000-5D8A-3F6D-5AD98DC48D06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25" creationId="{B9121FFC-FE65-5EC4-8B56-A8628F2F40A1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28" creationId="{7067E2B6-2BCA-5F96-41F6-B0AF6ED52C47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34" creationId="{DBBCDC24-94D9-E03A-DE34-BC691DE817C3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37" creationId="{CD03674C-E925-D8AB-FC52-C2D92A522BC5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40" creationId="{D1898567-BDED-F9CC-B83C-F8B6E09A672D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43" creationId="{31A6CDF7-D6B5-6FE0-C778-1633F5B6B033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49" creationId="{355FE12C-7E47-BB57-C26E-2AFD4932D35D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52" creationId="{E4356580-632E-4632-8CE9-80B650883827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55" creationId="{7AC448EE-FF4A-6DF3-C8C4-9E204FA1A5DF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58" creationId="{28E055CF-15A8-605B-5483-2C461E2927D1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61" creationId="{3E4419CE-11D7-EC1A-646E-2C4DB9F45190}"/>
          </ac:grpSpMkLst>
        </pc:grpChg>
        <pc:grpChg chg="add del">
          <ac:chgData name="Fatma Alsagaf" userId="ef587b5e-378a-4bb3-aa9f-3c15b98138a4" providerId="ADAL" clId="{C501D7D1-386F-4507-9267-B8938CF1C372}" dt="2023-10-10T05:45:10.061" v="143" actId="478"/>
          <ac:grpSpMkLst>
            <pc:docMk/>
            <pc:sldMk cId="2319192221" sldId="2147377171"/>
            <ac:grpSpMk id="268" creationId="{ED31313B-F109-62DC-28A9-048A349EF822}"/>
          </ac:grpSpMkLst>
        </pc:grpChg>
        <pc:grpChg chg="add mod">
          <ac:chgData name="Fatma Alsagaf" userId="ef587b5e-378a-4bb3-aa9f-3c15b98138a4" providerId="ADAL" clId="{C501D7D1-386F-4507-9267-B8938CF1C372}" dt="2023-10-10T10:37:10.097" v="902" actId="1076"/>
          <ac:grpSpMkLst>
            <pc:docMk/>
            <pc:sldMk cId="2319192221" sldId="2147377171"/>
            <ac:grpSpMk id="289" creationId="{F9684A38-1F7B-5BFF-CB37-8670EEE19FE2}"/>
          </ac:grpSpMkLst>
        </pc:grpChg>
        <pc:grpChg chg="mod">
          <ac:chgData name="Fatma Alsagaf" userId="ef587b5e-378a-4bb3-aa9f-3c15b98138a4" providerId="ADAL" clId="{C501D7D1-386F-4507-9267-B8938CF1C372}" dt="2023-10-10T10:36:52.502" v="901"/>
          <ac:grpSpMkLst>
            <pc:docMk/>
            <pc:sldMk cId="2319192221" sldId="2147377171"/>
            <ac:grpSpMk id="291" creationId="{10F58891-44B8-0422-664E-06E05BEA024F}"/>
          </ac:grpSpMkLst>
        </pc:grpChg>
        <pc:grpChg chg="add del mod">
          <ac:chgData name="Fatma Alsagaf" userId="ef587b5e-378a-4bb3-aa9f-3c15b98138a4" providerId="ADAL" clId="{C501D7D1-386F-4507-9267-B8938CF1C372}" dt="2023-10-10T08:54:56.785" v="586" actId="478"/>
          <ac:grpSpMkLst>
            <pc:docMk/>
            <pc:sldMk cId="2319192221" sldId="2147377171"/>
            <ac:grpSpMk id="1027" creationId="{F0FDE302-985D-3557-8D64-3839D0ABD942}"/>
          </ac:grpSpMkLst>
        </pc:grpChg>
        <pc:grpChg chg="add del mod">
          <ac:chgData name="Fatma Alsagaf" userId="ef587b5e-378a-4bb3-aa9f-3c15b98138a4" providerId="ADAL" clId="{C501D7D1-386F-4507-9267-B8938CF1C372}" dt="2023-10-10T08:54:59.651" v="588" actId="478"/>
          <ac:grpSpMkLst>
            <pc:docMk/>
            <pc:sldMk cId="2319192221" sldId="2147377171"/>
            <ac:grpSpMk id="1033" creationId="{E59F00CD-3A96-F6A2-0A00-C17736BEA927}"/>
          </ac:grpSpMkLst>
        </pc:grpChg>
        <pc:grpChg chg="add del mod">
          <ac:chgData name="Fatma Alsagaf" userId="ef587b5e-378a-4bb3-aa9f-3c15b98138a4" providerId="ADAL" clId="{C501D7D1-386F-4507-9267-B8938CF1C372}" dt="2023-10-10T10:10:12.808" v="613" actId="478"/>
          <ac:grpSpMkLst>
            <pc:docMk/>
            <pc:sldMk cId="2319192221" sldId="2147377171"/>
            <ac:grpSpMk id="1038" creationId="{EB1FD236-4542-61BD-455A-655AF7BDC5B5}"/>
          </ac:grpSpMkLst>
        </pc:grpChg>
        <pc:grpChg chg="add del mod">
          <ac:chgData name="Fatma Alsagaf" userId="ef587b5e-378a-4bb3-aa9f-3c15b98138a4" providerId="ADAL" clId="{C501D7D1-386F-4507-9267-B8938CF1C372}" dt="2023-10-10T10:10:12.808" v="613" actId="478"/>
          <ac:grpSpMkLst>
            <pc:docMk/>
            <pc:sldMk cId="2319192221" sldId="2147377171"/>
            <ac:grpSpMk id="1042" creationId="{C598F9F5-3ABB-7A2D-1404-432EAF69D27F}"/>
          </ac:grpSpMkLst>
        </pc:grpChg>
        <pc:grpChg chg="add del mod">
          <ac:chgData name="Fatma Alsagaf" userId="ef587b5e-378a-4bb3-aa9f-3c15b98138a4" providerId="ADAL" clId="{C501D7D1-386F-4507-9267-B8938CF1C372}" dt="2023-10-10T10:13:56.806" v="616" actId="478"/>
          <ac:grpSpMkLst>
            <pc:docMk/>
            <pc:sldMk cId="2319192221" sldId="2147377171"/>
            <ac:grpSpMk id="1046" creationId="{E0E0AA7F-ABF9-0C7B-768C-78B04DD86CA8}"/>
          </ac:grpSpMkLst>
        </pc:grpChg>
        <pc:grpChg chg="add del mod">
          <ac:chgData name="Fatma Alsagaf" userId="ef587b5e-378a-4bb3-aa9f-3c15b98138a4" providerId="ADAL" clId="{C501D7D1-386F-4507-9267-B8938CF1C372}" dt="2023-10-10T10:21:07.329" v="700" actId="478"/>
          <ac:grpSpMkLst>
            <pc:docMk/>
            <pc:sldMk cId="2319192221" sldId="2147377171"/>
            <ac:grpSpMk id="1054" creationId="{C82F8989-114A-A8AE-0FA5-E6583AAA3665}"/>
          </ac:grpSpMkLst>
        </pc:grpChg>
        <pc:grpChg chg="add del mod">
          <ac:chgData name="Fatma Alsagaf" userId="ef587b5e-378a-4bb3-aa9f-3c15b98138a4" providerId="ADAL" clId="{C501D7D1-386F-4507-9267-B8938CF1C372}" dt="2023-10-10T10:14:20.134" v="623"/>
          <ac:grpSpMkLst>
            <pc:docMk/>
            <pc:sldMk cId="2319192221" sldId="2147377171"/>
            <ac:grpSpMk id="1058" creationId="{A74F4B21-C097-1747-4182-C0208EBA1FEF}"/>
          </ac:grpSpMkLst>
        </pc:grpChg>
        <pc:grpChg chg="add del mod">
          <ac:chgData name="Fatma Alsagaf" userId="ef587b5e-378a-4bb3-aa9f-3c15b98138a4" providerId="ADAL" clId="{C501D7D1-386F-4507-9267-B8938CF1C372}" dt="2023-10-10T10:21:09.852" v="701" actId="478"/>
          <ac:grpSpMkLst>
            <pc:docMk/>
            <pc:sldMk cId="2319192221" sldId="2147377171"/>
            <ac:grpSpMk id="1062" creationId="{0E72C0B0-9F80-46E4-00F0-47F73E99B4B1}"/>
          </ac:grpSpMkLst>
        </pc:grpChg>
        <pc:grpChg chg="add del mod">
          <ac:chgData name="Fatma Alsagaf" userId="ef587b5e-378a-4bb3-aa9f-3c15b98138a4" providerId="ADAL" clId="{C501D7D1-386F-4507-9267-B8938CF1C372}" dt="2023-10-10T10:36:22.440" v="895" actId="478"/>
          <ac:grpSpMkLst>
            <pc:docMk/>
            <pc:sldMk cId="2319192221" sldId="2147377171"/>
            <ac:grpSpMk id="1066" creationId="{A9F8311B-891D-C5BF-6023-516C76E86D5D}"/>
          </ac:grpSpMkLst>
        </pc:grpChg>
        <pc:grpChg chg="add del mod">
          <ac:chgData name="Fatma Alsagaf" userId="ef587b5e-378a-4bb3-aa9f-3c15b98138a4" providerId="ADAL" clId="{C501D7D1-386F-4507-9267-B8938CF1C372}" dt="2023-10-10T10:36:22.440" v="895" actId="478"/>
          <ac:grpSpMkLst>
            <pc:docMk/>
            <pc:sldMk cId="2319192221" sldId="2147377171"/>
            <ac:grpSpMk id="1070" creationId="{2F4A86C9-493F-BB34-A4D8-F689C7DA4B85}"/>
          </ac:grpSpMkLst>
        </pc:grpChg>
        <pc:grpChg chg="add del mod">
          <ac:chgData name="Fatma Alsagaf" userId="ef587b5e-378a-4bb3-aa9f-3c15b98138a4" providerId="ADAL" clId="{C501D7D1-386F-4507-9267-B8938CF1C372}" dt="2023-10-10T10:36:13.092" v="892" actId="478"/>
          <ac:grpSpMkLst>
            <pc:docMk/>
            <pc:sldMk cId="2319192221" sldId="2147377171"/>
            <ac:grpSpMk id="1074" creationId="{9679D337-6DC6-AB8A-5743-D0063B5CF8C2}"/>
          </ac:grpSpMkLst>
        </pc:grpChg>
        <pc:grpChg chg="add mod">
          <ac:chgData name="Fatma Alsagaf" userId="ef587b5e-378a-4bb3-aa9f-3c15b98138a4" providerId="ADAL" clId="{C501D7D1-386F-4507-9267-B8938CF1C372}" dt="2023-10-10T10:36:02.524" v="891" actId="164"/>
          <ac:grpSpMkLst>
            <pc:docMk/>
            <pc:sldMk cId="2319192221" sldId="2147377171"/>
            <ac:grpSpMk id="1078" creationId="{E6BF0120-3B25-2BBC-842F-29DB0AD92947}"/>
          </ac:grpSpMkLst>
        </pc:grpChg>
        <pc:grpChg chg="add mod">
          <ac:chgData name="Fatma Alsagaf" userId="ef587b5e-378a-4bb3-aa9f-3c15b98138a4" providerId="ADAL" clId="{C501D7D1-386F-4507-9267-B8938CF1C372}" dt="2023-10-10T10:36:41.054" v="898" actId="1076"/>
          <ac:grpSpMkLst>
            <pc:docMk/>
            <pc:sldMk cId="2319192221" sldId="2147377171"/>
            <ac:grpSpMk id="1079" creationId="{5F191435-9A4B-4986-357B-D22E5A72F124}"/>
          </ac:grpSpMkLst>
        </pc:grpChg>
        <pc:grpChg chg="mod">
          <ac:chgData name="Fatma Alsagaf" userId="ef587b5e-378a-4bb3-aa9f-3c15b98138a4" providerId="ADAL" clId="{C501D7D1-386F-4507-9267-B8938CF1C372}" dt="2023-10-10T10:36:29.879" v="897"/>
          <ac:grpSpMkLst>
            <pc:docMk/>
            <pc:sldMk cId="2319192221" sldId="2147377171"/>
            <ac:grpSpMk id="1081" creationId="{0BF3DFA0-C105-F965-A8DE-A60056B1197B}"/>
          </ac:grpSpMkLst>
        </pc:grpChg>
        <pc:grpChg chg="add mod">
          <ac:chgData name="Fatma Alsagaf" userId="ef587b5e-378a-4bb3-aa9f-3c15b98138a4" providerId="ADAL" clId="{C501D7D1-386F-4507-9267-B8938CF1C372}" dt="2023-10-10T10:36:52.038" v="900" actId="1076"/>
          <ac:grpSpMkLst>
            <pc:docMk/>
            <pc:sldMk cId="2319192221" sldId="2147377171"/>
            <ac:grpSpMk id="1085" creationId="{0EB81ADC-7760-E953-4403-16519C98859B}"/>
          </ac:grpSpMkLst>
        </pc:grpChg>
        <pc:grpChg chg="mod">
          <ac:chgData name="Fatma Alsagaf" userId="ef587b5e-378a-4bb3-aa9f-3c15b98138a4" providerId="ADAL" clId="{C501D7D1-386F-4507-9267-B8938CF1C372}" dt="2023-10-10T10:36:44.493" v="899"/>
          <ac:grpSpMkLst>
            <pc:docMk/>
            <pc:sldMk cId="2319192221" sldId="2147377171"/>
            <ac:grpSpMk id="1087" creationId="{EB2DA26B-1C8C-72DD-F3D1-1F13B0AD8CDB}"/>
          </ac:grpSpMkLst>
        </pc:grpChg>
        <pc:grpChg chg="add del mod">
          <ac:chgData name="Fatma Alsagaf" userId="ef587b5e-378a-4bb3-aa9f-3c15b98138a4" providerId="ADAL" clId="{C501D7D1-386F-4507-9267-B8938CF1C372}" dt="2023-10-10T10:57:47.973" v="987"/>
          <ac:grpSpMkLst>
            <pc:docMk/>
            <pc:sldMk cId="2319192221" sldId="2147377171"/>
            <ac:grpSpMk id="1102" creationId="{C7A2B3B6-4674-E09E-F999-8DDA5C4A0087}"/>
          </ac:grpSpMkLst>
        </pc:grpChg>
        <pc:grpChg chg="add mod">
          <ac:chgData name="Fatma Alsagaf" userId="ef587b5e-378a-4bb3-aa9f-3c15b98138a4" providerId="ADAL" clId="{C501D7D1-386F-4507-9267-B8938CF1C372}" dt="2023-10-10T10:57:53.517" v="989" actId="164"/>
          <ac:grpSpMkLst>
            <pc:docMk/>
            <pc:sldMk cId="2319192221" sldId="2147377171"/>
            <ac:grpSpMk id="1110" creationId="{A2D3274A-6E85-519B-E24F-3E6FC368BD3F}"/>
          </ac:grpSpMkLst>
        </pc:grpChg>
        <pc:grpChg chg="add del mod">
          <ac:chgData name="Fatma Alsagaf" userId="ef587b5e-378a-4bb3-aa9f-3c15b98138a4" providerId="ADAL" clId="{C501D7D1-386F-4507-9267-B8938CF1C372}" dt="2023-10-10T11:02:24.753" v="992" actId="478"/>
          <ac:grpSpMkLst>
            <pc:docMk/>
            <pc:sldMk cId="2319192221" sldId="2147377171"/>
            <ac:grpSpMk id="1116" creationId="{1684EFD6-CC6C-9D75-0E8C-834EF94FAD07}"/>
          </ac:grpSpMkLst>
        </pc:grpChg>
        <pc:grpChg chg="add del mod">
          <ac:chgData name="Fatma Alsagaf" userId="ef587b5e-378a-4bb3-aa9f-3c15b98138a4" providerId="ADAL" clId="{C501D7D1-386F-4507-9267-B8938CF1C372}" dt="2023-10-10T11:08:13.038" v="998" actId="478"/>
          <ac:grpSpMkLst>
            <pc:docMk/>
            <pc:sldMk cId="2319192221" sldId="2147377171"/>
            <ac:grpSpMk id="1117" creationId="{11E4FC00-C4C4-CEE3-417D-72190724EC31}"/>
          </ac:grpSpMkLst>
        </pc:grpChg>
        <pc:grpChg chg="add del mod">
          <ac:chgData name="Fatma Alsagaf" userId="ef587b5e-378a-4bb3-aa9f-3c15b98138a4" providerId="ADAL" clId="{C501D7D1-386F-4507-9267-B8938CF1C372}" dt="2023-10-10T11:08:10.310" v="997" actId="478"/>
          <ac:grpSpMkLst>
            <pc:docMk/>
            <pc:sldMk cId="2319192221" sldId="2147377171"/>
            <ac:grpSpMk id="1123" creationId="{E3AFA102-AF7C-6935-FC9A-D44D2B0139FA}"/>
          </ac:grpSpMkLst>
        </pc:grpChg>
        <pc:grpChg chg="add del mod">
          <ac:chgData name="Fatma Alsagaf" userId="ef587b5e-378a-4bb3-aa9f-3c15b98138a4" providerId="ADAL" clId="{C501D7D1-386F-4507-9267-B8938CF1C372}" dt="2023-10-10T11:10:10.566" v="1009" actId="478"/>
          <ac:grpSpMkLst>
            <pc:docMk/>
            <pc:sldMk cId="2319192221" sldId="2147377171"/>
            <ac:grpSpMk id="1129" creationId="{1164FA1A-2720-396A-9CF2-717683644FBF}"/>
          </ac:grpSpMkLst>
        </pc:grpChg>
        <pc:grpChg chg="add mod">
          <ac:chgData name="Fatma Alsagaf" userId="ef587b5e-378a-4bb3-aa9f-3c15b98138a4" providerId="ADAL" clId="{C501D7D1-386F-4507-9267-B8938CF1C372}" dt="2023-10-10T11:16:18.334" v="1067" actId="164"/>
          <ac:grpSpMkLst>
            <pc:docMk/>
            <pc:sldMk cId="2319192221" sldId="2147377171"/>
            <ac:grpSpMk id="1135" creationId="{B6EE4A1E-C84F-FD45-E328-932FE5B3E19D}"/>
          </ac:grpSpMkLst>
        </pc:grpChg>
        <pc:grpChg chg="add del mod">
          <ac:chgData name="Fatma Alsagaf" userId="ef587b5e-378a-4bb3-aa9f-3c15b98138a4" providerId="ADAL" clId="{C501D7D1-386F-4507-9267-B8938CF1C372}" dt="2023-10-10T12:17:25.513" v="1175" actId="478"/>
          <ac:grpSpMkLst>
            <pc:docMk/>
            <pc:sldMk cId="2319192221" sldId="2147377171"/>
            <ac:grpSpMk id="1142" creationId="{A4B7B5E7-D39D-4D2F-CCE6-55AFF9D81CDB}"/>
          </ac:grpSpMkLst>
        </pc:grpChg>
        <pc:grpChg chg="add del mod">
          <ac:chgData name="Fatma Alsagaf" userId="ef587b5e-378a-4bb3-aa9f-3c15b98138a4" providerId="ADAL" clId="{C501D7D1-386F-4507-9267-B8938CF1C372}" dt="2023-10-10T12:17:25.513" v="1175" actId="478"/>
          <ac:grpSpMkLst>
            <pc:docMk/>
            <pc:sldMk cId="2319192221" sldId="2147377171"/>
            <ac:grpSpMk id="1143" creationId="{9B143E4E-BC61-2B8C-94D8-2AFAA4628D85}"/>
          </ac:grpSpMkLst>
        </pc:grpChg>
        <pc:grpChg chg="mod">
          <ac:chgData name="Fatma Alsagaf" userId="ef587b5e-378a-4bb3-aa9f-3c15b98138a4" providerId="ADAL" clId="{C501D7D1-386F-4507-9267-B8938CF1C372}" dt="2023-10-10T11:16:21.380" v="1068"/>
          <ac:grpSpMkLst>
            <pc:docMk/>
            <pc:sldMk cId="2319192221" sldId="2147377171"/>
            <ac:grpSpMk id="1144" creationId="{59E216F0-A7C5-E2DE-6277-37C00AE4A55B}"/>
          </ac:grpSpMkLst>
        </pc:grpChg>
        <pc:grpChg chg="add del mod">
          <ac:chgData name="Fatma Alsagaf" userId="ef587b5e-378a-4bb3-aa9f-3c15b98138a4" providerId="ADAL" clId="{C501D7D1-386F-4507-9267-B8938CF1C372}" dt="2023-10-10T11:25:36.046" v="1109"/>
          <ac:grpSpMkLst>
            <pc:docMk/>
            <pc:sldMk cId="2319192221" sldId="2147377171"/>
            <ac:grpSpMk id="1153" creationId="{7990DEA3-96B3-65F1-BB47-58DDA6A61517}"/>
          </ac:grpSpMkLst>
        </pc:grpChg>
        <pc:grpChg chg="mod">
          <ac:chgData name="Fatma Alsagaf" userId="ef587b5e-378a-4bb3-aa9f-3c15b98138a4" providerId="ADAL" clId="{C501D7D1-386F-4507-9267-B8938CF1C372}" dt="2023-10-10T11:25:34.591" v="1108"/>
          <ac:grpSpMkLst>
            <pc:docMk/>
            <pc:sldMk cId="2319192221" sldId="2147377171"/>
            <ac:grpSpMk id="1154" creationId="{DCDEBF5D-0E4A-573D-2946-A9F4D4743FD9}"/>
          </ac:grpSpMkLst>
        </pc:grpChg>
        <pc:grpChg chg="add del mod">
          <ac:chgData name="Fatma Alsagaf" userId="ef587b5e-378a-4bb3-aa9f-3c15b98138a4" providerId="ADAL" clId="{C501D7D1-386F-4507-9267-B8938CF1C372}" dt="2023-10-10T12:17:25.513" v="1175" actId="478"/>
          <ac:grpSpMkLst>
            <pc:docMk/>
            <pc:sldMk cId="2319192221" sldId="2147377171"/>
            <ac:grpSpMk id="1160" creationId="{31A014D9-074F-4EA6-FA7A-5AF6DBA6DB81}"/>
          </ac:grpSpMkLst>
        </pc:grpChg>
        <pc:grpChg chg="mod">
          <ac:chgData name="Fatma Alsagaf" userId="ef587b5e-378a-4bb3-aa9f-3c15b98138a4" providerId="ADAL" clId="{C501D7D1-386F-4507-9267-B8938CF1C372}" dt="2023-10-10T11:25:39.384" v="1110"/>
          <ac:grpSpMkLst>
            <pc:docMk/>
            <pc:sldMk cId="2319192221" sldId="2147377171"/>
            <ac:grpSpMk id="1161" creationId="{7F55BC0C-C316-B117-54D7-761C605765AB}"/>
          </ac:grpSpMkLst>
        </pc:grpChg>
        <pc:grpChg chg="add del mod">
          <ac:chgData name="Fatma Alsagaf" userId="ef587b5e-378a-4bb3-aa9f-3c15b98138a4" providerId="ADAL" clId="{C501D7D1-386F-4507-9267-B8938CF1C372}" dt="2023-10-10T11:27:32.399" v="1137"/>
          <ac:grpSpMkLst>
            <pc:docMk/>
            <pc:sldMk cId="2319192221" sldId="2147377171"/>
            <ac:grpSpMk id="1167" creationId="{7F3EF8EC-6693-C6CD-D691-5AFFBAB81C47}"/>
          </ac:grpSpMkLst>
        </pc:grpChg>
        <pc:grpChg chg="mod">
          <ac:chgData name="Fatma Alsagaf" userId="ef587b5e-378a-4bb3-aa9f-3c15b98138a4" providerId="ADAL" clId="{C501D7D1-386F-4507-9267-B8938CF1C372}" dt="2023-10-10T11:27:29.410" v="1134"/>
          <ac:grpSpMkLst>
            <pc:docMk/>
            <pc:sldMk cId="2319192221" sldId="2147377171"/>
            <ac:grpSpMk id="1168" creationId="{2C2061B5-E3CD-D566-C742-2A81ED4F3E28}"/>
          </ac:grpSpMkLst>
        </pc:grpChg>
        <pc:grpChg chg="add del mod">
          <ac:chgData name="Fatma Alsagaf" userId="ef587b5e-378a-4bb3-aa9f-3c15b98138a4" providerId="ADAL" clId="{C501D7D1-386F-4507-9267-B8938CF1C372}" dt="2023-10-10T11:27:32.399" v="1137"/>
          <ac:grpSpMkLst>
            <pc:docMk/>
            <pc:sldMk cId="2319192221" sldId="2147377171"/>
            <ac:grpSpMk id="1174" creationId="{3847F97A-FC49-0764-F366-A08EC8662F24}"/>
          </ac:grpSpMkLst>
        </pc:grpChg>
        <pc:grpChg chg="mod">
          <ac:chgData name="Fatma Alsagaf" userId="ef587b5e-378a-4bb3-aa9f-3c15b98138a4" providerId="ADAL" clId="{C501D7D1-386F-4507-9267-B8938CF1C372}" dt="2023-10-10T11:27:29.410" v="1134"/>
          <ac:grpSpMkLst>
            <pc:docMk/>
            <pc:sldMk cId="2319192221" sldId="2147377171"/>
            <ac:grpSpMk id="1175" creationId="{BC3FC3E4-9BCA-B3E6-3B6D-976BEBA2343A}"/>
          </ac:grpSpMkLst>
        </pc:grpChg>
        <pc:grpChg chg="add del mod">
          <ac:chgData name="Fatma Alsagaf" userId="ef587b5e-378a-4bb3-aa9f-3c15b98138a4" providerId="ADAL" clId="{C501D7D1-386F-4507-9267-B8938CF1C372}" dt="2023-10-10T12:17:25.513" v="1175" actId="478"/>
          <ac:grpSpMkLst>
            <pc:docMk/>
            <pc:sldMk cId="2319192221" sldId="2147377171"/>
            <ac:grpSpMk id="1181" creationId="{77FDFCFE-FEEA-4406-0F75-28FE39FF1DFD}"/>
          </ac:grpSpMkLst>
        </pc:grpChg>
        <pc:grpChg chg="mod">
          <ac:chgData name="Fatma Alsagaf" userId="ef587b5e-378a-4bb3-aa9f-3c15b98138a4" providerId="ADAL" clId="{C501D7D1-386F-4507-9267-B8938CF1C372}" dt="2023-10-10T11:27:39.941" v="1138"/>
          <ac:grpSpMkLst>
            <pc:docMk/>
            <pc:sldMk cId="2319192221" sldId="2147377171"/>
            <ac:grpSpMk id="1182" creationId="{C34B5E17-EC52-A480-9E64-14CC08FBF56B}"/>
          </ac:grpSpMkLst>
        </pc:grpChg>
        <pc:grpChg chg="add del mod">
          <ac:chgData name="Fatma Alsagaf" userId="ef587b5e-378a-4bb3-aa9f-3c15b98138a4" providerId="ADAL" clId="{C501D7D1-386F-4507-9267-B8938CF1C372}" dt="2023-10-10T12:17:25.513" v="1175" actId="478"/>
          <ac:grpSpMkLst>
            <pc:docMk/>
            <pc:sldMk cId="2319192221" sldId="2147377171"/>
            <ac:grpSpMk id="1188" creationId="{E96AF822-4745-2D64-CFD0-9437D060352E}"/>
          </ac:grpSpMkLst>
        </pc:grpChg>
        <pc:grpChg chg="mod">
          <ac:chgData name="Fatma Alsagaf" userId="ef587b5e-378a-4bb3-aa9f-3c15b98138a4" providerId="ADAL" clId="{C501D7D1-386F-4507-9267-B8938CF1C372}" dt="2023-10-10T11:27:39.941" v="1138"/>
          <ac:grpSpMkLst>
            <pc:docMk/>
            <pc:sldMk cId="2319192221" sldId="2147377171"/>
            <ac:grpSpMk id="1189" creationId="{B4ED7DE9-2B07-57B4-C321-636363F75072}"/>
          </ac:grpSpMkLst>
        </pc:grpChg>
        <pc:grpChg chg="add del mod">
          <ac:chgData name="Fatma Alsagaf" userId="ef587b5e-378a-4bb3-aa9f-3c15b98138a4" providerId="ADAL" clId="{C501D7D1-386F-4507-9267-B8938CF1C372}" dt="2023-10-10T12:17:25.513" v="1175" actId="478"/>
          <ac:grpSpMkLst>
            <pc:docMk/>
            <pc:sldMk cId="2319192221" sldId="2147377171"/>
            <ac:grpSpMk id="1195" creationId="{555F4743-65E5-A08F-308C-E031155EC05C}"/>
          </ac:grpSpMkLst>
        </pc:grpChg>
        <pc:grpChg chg="mod">
          <ac:chgData name="Fatma Alsagaf" userId="ef587b5e-378a-4bb3-aa9f-3c15b98138a4" providerId="ADAL" clId="{C501D7D1-386F-4507-9267-B8938CF1C372}" dt="2023-10-10T11:27:59.655" v="1148"/>
          <ac:grpSpMkLst>
            <pc:docMk/>
            <pc:sldMk cId="2319192221" sldId="2147377171"/>
            <ac:grpSpMk id="1196" creationId="{561436CA-92AC-4B07-98DB-729B4F722161}"/>
          </ac:grpSpMkLst>
        </pc:grpChg>
        <pc:grpChg chg="add del mod">
          <ac:chgData name="Fatma Alsagaf" userId="ef587b5e-378a-4bb3-aa9f-3c15b98138a4" providerId="ADAL" clId="{C501D7D1-386F-4507-9267-B8938CF1C372}" dt="2023-10-10T12:17:25.513" v="1175" actId="478"/>
          <ac:grpSpMkLst>
            <pc:docMk/>
            <pc:sldMk cId="2319192221" sldId="2147377171"/>
            <ac:grpSpMk id="1202" creationId="{C2F3199A-A0AA-2F71-0AA0-FFF8DF777807}"/>
          </ac:grpSpMkLst>
        </pc:grpChg>
        <pc:grpChg chg="mod">
          <ac:chgData name="Fatma Alsagaf" userId="ef587b5e-378a-4bb3-aa9f-3c15b98138a4" providerId="ADAL" clId="{C501D7D1-386F-4507-9267-B8938CF1C372}" dt="2023-10-10T11:27:59.655" v="1148"/>
          <ac:grpSpMkLst>
            <pc:docMk/>
            <pc:sldMk cId="2319192221" sldId="2147377171"/>
            <ac:grpSpMk id="1203" creationId="{A01BFB63-4816-1BE3-49ED-50905B4FC11D}"/>
          </ac:grpSpMkLst>
        </pc:grpChg>
        <pc:grpChg chg="add del mod">
          <ac:chgData name="Fatma Alsagaf" userId="ef587b5e-378a-4bb3-aa9f-3c15b98138a4" providerId="ADAL" clId="{C501D7D1-386F-4507-9267-B8938CF1C372}" dt="2023-10-10T11:30:26.942" v="1156"/>
          <ac:grpSpMkLst>
            <pc:docMk/>
            <pc:sldMk cId="2319192221" sldId="2147377171"/>
            <ac:grpSpMk id="1209" creationId="{48FFD370-668C-E6E4-6E2F-ABFAE4CEF1D6}"/>
          </ac:grpSpMkLst>
        </pc:grpChg>
        <pc:grpChg chg="mod">
          <ac:chgData name="Fatma Alsagaf" userId="ef587b5e-378a-4bb3-aa9f-3c15b98138a4" providerId="ADAL" clId="{C501D7D1-386F-4507-9267-B8938CF1C372}" dt="2023-10-10T11:30:25.709" v="1155"/>
          <ac:grpSpMkLst>
            <pc:docMk/>
            <pc:sldMk cId="2319192221" sldId="2147377171"/>
            <ac:grpSpMk id="1210" creationId="{365B4C80-1800-1125-8414-F21FB7B1B9F9}"/>
          </ac:grpSpMkLst>
        </pc:grpChg>
        <pc:grpChg chg="add del mod">
          <ac:chgData name="Fatma Alsagaf" userId="ef587b5e-378a-4bb3-aa9f-3c15b98138a4" providerId="ADAL" clId="{C501D7D1-386F-4507-9267-B8938CF1C372}" dt="2023-10-10T11:30:28.192" v="1158"/>
          <ac:grpSpMkLst>
            <pc:docMk/>
            <pc:sldMk cId="2319192221" sldId="2147377171"/>
            <ac:grpSpMk id="1216" creationId="{A857292D-84D2-AFEF-8738-3DFC493A53F0}"/>
          </ac:grpSpMkLst>
        </pc:grpChg>
        <pc:grpChg chg="mod">
          <ac:chgData name="Fatma Alsagaf" userId="ef587b5e-378a-4bb3-aa9f-3c15b98138a4" providerId="ADAL" clId="{C501D7D1-386F-4507-9267-B8938CF1C372}" dt="2023-10-10T11:30:27.709" v="1157"/>
          <ac:grpSpMkLst>
            <pc:docMk/>
            <pc:sldMk cId="2319192221" sldId="2147377171"/>
            <ac:grpSpMk id="1217" creationId="{D9279F1E-CA8F-162B-E3B8-3324650F8F08}"/>
          </ac:grpSpMkLst>
        </pc:grpChg>
        <pc:grpChg chg="add del mod">
          <ac:chgData name="Fatma Alsagaf" userId="ef587b5e-378a-4bb3-aa9f-3c15b98138a4" providerId="ADAL" clId="{C501D7D1-386F-4507-9267-B8938CF1C372}" dt="2023-10-10T11:30:36.699" v="1163"/>
          <ac:grpSpMkLst>
            <pc:docMk/>
            <pc:sldMk cId="2319192221" sldId="2147377171"/>
            <ac:grpSpMk id="1223" creationId="{9E2F486E-9217-692C-EDD0-32C65908FF9A}"/>
          </ac:grpSpMkLst>
        </pc:grpChg>
        <pc:grpChg chg="mod">
          <ac:chgData name="Fatma Alsagaf" userId="ef587b5e-378a-4bb3-aa9f-3c15b98138a4" providerId="ADAL" clId="{C501D7D1-386F-4507-9267-B8938CF1C372}" dt="2023-10-10T11:30:31.285" v="1160"/>
          <ac:grpSpMkLst>
            <pc:docMk/>
            <pc:sldMk cId="2319192221" sldId="2147377171"/>
            <ac:grpSpMk id="1224" creationId="{F72D495C-49D7-8FC7-DEEC-2B2146154C69}"/>
          </ac:grpSpMkLst>
        </pc:grpChg>
        <pc:grpChg chg="add del mod">
          <ac:chgData name="Fatma Alsagaf" userId="ef587b5e-378a-4bb3-aa9f-3c15b98138a4" providerId="ADAL" clId="{C501D7D1-386F-4507-9267-B8938CF1C372}" dt="2023-10-10T11:30:36.699" v="1163"/>
          <ac:grpSpMkLst>
            <pc:docMk/>
            <pc:sldMk cId="2319192221" sldId="2147377171"/>
            <ac:grpSpMk id="1230" creationId="{32294696-7017-044E-52AD-F07CACAB7211}"/>
          </ac:grpSpMkLst>
        </pc:grpChg>
        <pc:grpChg chg="mod">
          <ac:chgData name="Fatma Alsagaf" userId="ef587b5e-378a-4bb3-aa9f-3c15b98138a4" providerId="ADAL" clId="{C501D7D1-386F-4507-9267-B8938CF1C372}" dt="2023-10-10T11:30:31.285" v="1160"/>
          <ac:grpSpMkLst>
            <pc:docMk/>
            <pc:sldMk cId="2319192221" sldId="2147377171"/>
            <ac:grpSpMk id="1231" creationId="{AFD21DAC-F8F4-216D-039C-0A894B2BAB64}"/>
          </ac:grpSpMkLst>
        </pc:grpChg>
        <pc:grpChg chg="add del mod">
          <ac:chgData name="Fatma Alsagaf" userId="ef587b5e-378a-4bb3-aa9f-3c15b98138a4" providerId="ADAL" clId="{C501D7D1-386F-4507-9267-B8938CF1C372}" dt="2023-10-10T12:17:25.513" v="1175" actId="478"/>
          <ac:grpSpMkLst>
            <pc:docMk/>
            <pc:sldMk cId="2319192221" sldId="2147377171"/>
            <ac:grpSpMk id="1237" creationId="{57CC2A7B-6126-7200-08C8-4AE5FF8C836B}"/>
          </ac:grpSpMkLst>
        </pc:grpChg>
        <pc:grpChg chg="mod">
          <ac:chgData name="Fatma Alsagaf" userId="ef587b5e-378a-4bb3-aa9f-3c15b98138a4" providerId="ADAL" clId="{C501D7D1-386F-4507-9267-B8938CF1C372}" dt="2023-10-10T11:30:38.421" v="1164"/>
          <ac:grpSpMkLst>
            <pc:docMk/>
            <pc:sldMk cId="2319192221" sldId="2147377171"/>
            <ac:grpSpMk id="1238" creationId="{FFD449F9-087D-5912-2CF3-63B9281E08C8}"/>
          </ac:grpSpMkLst>
        </pc:grpChg>
        <pc:grpChg chg="add del mod">
          <ac:chgData name="Fatma Alsagaf" userId="ef587b5e-378a-4bb3-aa9f-3c15b98138a4" providerId="ADAL" clId="{C501D7D1-386F-4507-9267-B8938CF1C372}" dt="2023-10-10T12:17:25.513" v="1175" actId="478"/>
          <ac:grpSpMkLst>
            <pc:docMk/>
            <pc:sldMk cId="2319192221" sldId="2147377171"/>
            <ac:grpSpMk id="1244" creationId="{0BEFDAAC-4320-13A5-D703-D887A177BF66}"/>
          </ac:grpSpMkLst>
        </pc:grpChg>
        <pc:grpChg chg="mod">
          <ac:chgData name="Fatma Alsagaf" userId="ef587b5e-378a-4bb3-aa9f-3c15b98138a4" providerId="ADAL" clId="{C501D7D1-386F-4507-9267-B8938CF1C372}" dt="2023-10-10T11:30:38.421" v="1164"/>
          <ac:grpSpMkLst>
            <pc:docMk/>
            <pc:sldMk cId="2319192221" sldId="2147377171"/>
            <ac:grpSpMk id="1245" creationId="{7697EC1E-ABE7-2E45-DFFB-4CCA7E60115B}"/>
          </ac:grpSpMkLst>
        </pc:grpChg>
        <pc:grpChg chg="add del mod">
          <ac:chgData name="Fatma Alsagaf" userId="ef587b5e-378a-4bb3-aa9f-3c15b98138a4" providerId="ADAL" clId="{C501D7D1-386F-4507-9267-B8938CF1C372}" dt="2023-10-10T12:17:25.513" v="1175" actId="478"/>
          <ac:grpSpMkLst>
            <pc:docMk/>
            <pc:sldMk cId="2319192221" sldId="2147377171"/>
            <ac:grpSpMk id="1251" creationId="{2BA7FCA6-98EF-C24A-82AA-7651286D48A1}"/>
          </ac:grpSpMkLst>
        </pc:grpChg>
        <pc:grpChg chg="mod">
          <ac:chgData name="Fatma Alsagaf" userId="ef587b5e-378a-4bb3-aa9f-3c15b98138a4" providerId="ADAL" clId="{C501D7D1-386F-4507-9267-B8938CF1C372}" dt="2023-10-10T11:32:45.450" v="1171"/>
          <ac:grpSpMkLst>
            <pc:docMk/>
            <pc:sldMk cId="2319192221" sldId="2147377171"/>
            <ac:grpSpMk id="1252" creationId="{7453EA9C-DD7D-4463-CB3A-EE113BADE196}"/>
          </ac:grpSpMkLst>
        </pc:grpChg>
        <pc:grpChg chg="add del mod">
          <ac:chgData name="Fatma Alsagaf" userId="ef587b5e-378a-4bb3-aa9f-3c15b98138a4" providerId="ADAL" clId="{C501D7D1-386F-4507-9267-B8938CF1C372}" dt="2023-10-10T12:17:54.748" v="1184" actId="21"/>
          <ac:grpSpMkLst>
            <pc:docMk/>
            <pc:sldMk cId="2319192221" sldId="2147377171"/>
            <ac:grpSpMk id="1258" creationId="{036DB8F0-EEB4-D489-1109-75854CFCA655}"/>
          </ac:grpSpMkLst>
        </pc:grpChg>
        <pc:grpChg chg="del mod topLvl">
          <ac:chgData name="Fatma Alsagaf" userId="ef587b5e-378a-4bb3-aa9f-3c15b98138a4" providerId="ADAL" clId="{C501D7D1-386F-4507-9267-B8938CF1C372}" dt="2023-10-10T12:20:15.040" v="1203" actId="478"/>
          <ac:grpSpMkLst>
            <pc:docMk/>
            <pc:sldMk cId="2319192221" sldId="2147377171"/>
            <ac:grpSpMk id="1259" creationId="{A818B047-3BBC-FEDC-B9EC-D382060D4684}"/>
          </ac:grpSpMkLst>
        </pc:grpChg>
        <pc:grpChg chg="add mod">
          <ac:chgData name="Fatma Alsagaf" userId="ef587b5e-378a-4bb3-aa9f-3c15b98138a4" providerId="ADAL" clId="{C501D7D1-386F-4507-9267-B8938CF1C372}" dt="2023-10-10T12:18:53.978" v="1191" actId="164"/>
          <ac:grpSpMkLst>
            <pc:docMk/>
            <pc:sldMk cId="2319192221" sldId="2147377171"/>
            <ac:grpSpMk id="1265" creationId="{F803EA19-D72E-A172-9E3C-6E07ACB5E1AE}"/>
          </ac:grpSpMkLst>
        </pc:grpChg>
        <pc:grpChg chg="add mod">
          <ac:chgData name="Fatma Alsagaf" userId="ef587b5e-378a-4bb3-aa9f-3c15b98138a4" providerId="ADAL" clId="{C501D7D1-386F-4507-9267-B8938CF1C372}" dt="2023-10-10T12:22:59.875" v="1242" actId="1076"/>
          <ac:grpSpMkLst>
            <pc:docMk/>
            <pc:sldMk cId="2319192221" sldId="2147377171"/>
            <ac:grpSpMk id="1272" creationId="{3EFC3B0D-BFB3-F175-C2CD-C2AEC9D8A088}"/>
          </ac:grpSpMkLst>
        </pc:grpChg>
        <pc:grpChg chg="add del mod">
          <ac:chgData name="Fatma Alsagaf" userId="ef587b5e-378a-4bb3-aa9f-3c15b98138a4" providerId="ADAL" clId="{C501D7D1-386F-4507-9267-B8938CF1C372}" dt="2023-10-10T12:31:24.789" v="1356" actId="165"/>
          <ac:grpSpMkLst>
            <pc:docMk/>
            <pc:sldMk cId="2319192221" sldId="2147377171"/>
            <ac:grpSpMk id="1273" creationId="{B6395C34-7537-48D4-AF02-802B1C9B7424}"/>
          </ac:grpSpMkLst>
        </pc:grpChg>
        <pc:grpChg chg="mod topLvl">
          <ac:chgData name="Fatma Alsagaf" userId="ef587b5e-378a-4bb3-aa9f-3c15b98138a4" providerId="ADAL" clId="{C501D7D1-386F-4507-9267-B8938CF1C372}" dt="2023-10-10T12:31:24.789" v="1356" actId="165"/>
          <ac:grpSpMkLst>
            <pc:docMk/>
            <pc:sldMk cId="2319192221" sldId="2147377171"/>
            <ac:grpSpMk id="1274" creationId="{9B839415-CCCF-74BB-3D87-A76717E79F63}"/>
          </ac:grpSpMkLst>
        </pc:grpChg>
        <pc:grpChg chg="add del mod">
          <ac:chgData name="Fatma Alsagaf" userId="ef587b5e-378a-4bb3-aa9f-3c15b98138a4" providerId="ADAL" clId="{C501D7D1-386F-4507-9267-B8938CF1C372}" dt="2023-10-10T12:22:10.578" v="1235"/>
          <ac:grpSpMkLst>
            <pc:docMk/>
            <pc:sldMk cId="2319192221" sldId="2147377171"/>
            <ac:grpSpMk id="1280" creationId="{0928A878-05F0-296D-F8E8-638DC0FB4C43}"/>
          </ac:grpSpMkLst>
        </pc:grpChg>
        <pc:grpChg chg="mod">
          <ac:chgData name="Fatma Alsagaf" userId="ef587b5e-378a-4bb3-aa9f-3c15b98138a4" providerId="ADAL" clId="{C501D7D1-386F-4507-9267-B8938CF1C372}" dt="2023-10-10T12:22:08.219" v="1232"/>
          <ac:grpSpMkLst>
            <pc:docMk/>
            <pc:sldMk cId="2319192221" sldId="2147377171"/>
            <ac:grpSpMk id="1281" creationId="{66A7511E-7689-CFAC-17C2-6D81E29E2C0F}"/>
          </ac:grpSpMkLst>
        </pc:grpChg>
        <pc:grpChg chg="add del mod">
          <ac:chgData name="Fatma Alsagaf" userId="ef587b5e-378a-4bb3-aa9f-3c15b98138a4" providerId="ADAL" clId="{C501D7D1-386F-4507-9267-B8938CF1C372}" dt="2023-10-10T12:22:10.578" v="1235"/>
          <ac:grpSpMkLst>
            <pc:docMk/>
            <pc:sldMk cId="2319192221" sldId="2147377171"/>
            <ac:grpSpMk id="1287" creationId="{BA442315-7516-B80E-5609-28F799B64738}"/>
          </ac:grpSpMkLst>
        </pc:grpChg>
        <pc:grpChg chg="mod">
          <ac:chgData name="Fatma Alsagaf" userId="ef587b5e-378a-4bb3-aa9f-3c15b98138a4" providerId="ADAL" clId="{C501D7D1-386F-4507-9267-B8938CF1C372}" dt="2023-10-10T12:22:08.219" v="1232"/>
          <ac:grpSpMkLst>
            <pc:docMk/>
            <pc:sldMk cId="2319192221" sldId="2147377171"/>
            <ac:grpSpMk id="1288" creationId="{8329C42B-3679-226B-2920-AE78721BA649}"/>
          </ac:grpSpMkLst>
        </pc:grpChg>
        <pc:grpChg chg="add mod">
          <ac:chgData name="Fatma Alsagaf" userId="ef587b5e-378a-4bb3-aa9f-3c15b98138a4" providerId="ADAL" clId="{C501D7D1-386F-4507-9267-B8938CF1C372}" dt="2023-10-10T12:22:59.875" v="1242" actId="1076"/>
          <ac:grpSpMkLst>
            <pc:docMk/>
            <pc:sldMk cId="2319192221" sldId="2147377171"/>
            <ac:grpSpMk id="1294" creationId="{9CE3F2AE-0927-98F1-9F92-A89A9B223A66}"/>
          </ac:grpSpMkLst>
        </pc:grpChg>
        <pc:grpChg chg="mod">
          <ac:chgData name="Fatma Alsagaf" userId="ef587b5e-378a-4bb3-aa9f-3c15b98138a4" providerId="ADAL" clId="{C501D7D1-386F-4507-9267-B8938CF1C372}" dt="2023-10-10T12:22:11.431" v="1236"/>
          <ac:grpSpMkLst>
            <pc:docMk/>
            <pc:sldMk cId="2319192221" sldId="2147377171"/>
            <ac:grpSpMk id="1295" creationId="{8462BF18-2331-371C-1A71-35FB307C2A37}"/>
          </ac:grpSpMkLst>
        </pc:grpChg>
        <pc:grpChg chg="add mod">
          <ac:chgData name="Fatma Alsagaf" userId="ef587b5e-378a-4bb3-aa9f-3c15b98138a4" providerId="ADAL" clId="{C501D7D1-386F-4507-9267-B8938CF1C372}" dt="2023-10-10T12:22:59.875" v="1242" actId="1076"/>
          <ac:grpSpMkLst>
            <pc:docMk/>
            <pc:sldMk cId="2319192221" sldId="2147377171"/>
            <ac:grpSpMk id="1301" creationId="{A6CDFD06-5FBF-FD1E-A06A-022743C145B6}"/>
          </ac:grpSpMkLst>
        </pc:grpChg>
        <pc:grpChg chg="mod">
          <ac:chgData name="Fatma Alsagaf" userId="ef587b5e-378a-4bb3-aa9f-3c15b98138a4" providerId="ADAL" clId="{C501D7D1-386F-4507-9267-B8938CF1C372}" dt="2023-10-10T12:22:11.431" v="1236"/>
          <ac:grpSpMkLst>
            <pc:docMk/>
            <pc:sldMk cId="2319192221" sldId="2147377171"/>
            <ac:grpSpMk id="1302" creationId="{55BE786B-A300-ACE2-FAD5-3DDCDCAB5DAA}"/>
          </ac:grpSpMkLst>
        </pc:grpChg>
        <pc:grpChg chg="add mod">
          <ac:chgData name="Fatma Alsagaf" userId="ef587b5e-378a-4bb3-aa9f-3c15b98138a4" providerId="ADAL" clId="{C501D7D1-386F-4507-9267-B8938CF1C372}" dt="2023-10-10T12:22:59.875" v="1242" actId="1076"/>
          <ac:grpSpMkLst>
            <pc:docMk/>
            <pc:sldMk cId="2319192221" sldId="2147377171"/>
            <ac:grpSpMk id="1308" creationId="{0FB47E8F-7999-593B-3851-E44260368041}"/>
          </ac:grpSpMkLst>
        </pc:grpChg>
        <pc:grpChg chg="mod">
          <ac:chgData name="Fatma Alsagaf" userId="ef587b5e-378a-4bb3-aa9f-3c15b98138a4" providerId="ADAL" clId="{C501D7D1-386F-4507-9267-B8938CF1C372}" dt="2023-10-10T12:22:20.202" v="1238"/>
          <ac:grpSpMkLst>
            <pc:docMk/>
            <pc:sldMk cId="2319192221" sldId="2147377171"/>
            <ac:grpSpMk id="1309" creationId="{B3AE62BF-5AAB-B7FA-AB0F-E54967D60202}"/>
          </ac:grpSpMkLst>
        </pc:grpChg>
        <pc:grpChg chg="add mod">
          <ac:chgData name="Fatma Alsagaf" userId="ef587b5e-378a-4bb3-aa9f-3c15b98138a4" providerId="ADAL" clId="{C501D7D1-386F-4507-9267-B8938CF1C372}" dt="2023-10-10T12:22:59.875" v="1242" actId="1076"/>
          <ac:grpSpMkLst>
            <pc:docMk/>
            <pc:sldMk cId="2319192221" sldId="2147377171"/>
            <ac:grpSpMk id="1315" creationId="{1AD95B08-7156-6C92-E83D-566159EBCC31}"/>
          </ac:grpSpMkLst>
        </pc:grpChg>
        <pc:grpChg chg="mod">
          <ac:chgData name="Fatma Alsagaf" userId="ef587b5e-378a-4bb3-aa9f-3c15b98138a4" providerId="ADAL" clId="{C501D7D1-386F-4507-9267-B8938CF1C372}" dt="2023-10-10T12:22:20.202" v="1238"/>
          <ac:grpSpMkLst>
            <pc:docMk/>
            <pc:sldMk cId="2319192221" sldId="2147377171"/>
            <ac:grpSpMk id="1316" creationId="{2F6E7F50-356A-C0B1-C9B9-C632F1B5D650}"/>
          </ac:grpSpMkLst>
        </pc:grpChg>
        <pc:grpChg chg="add mod">
          <ac:chgData name="Fatma Alsagaf" userId="ef587b5e-378a-4bb3-aa9f-3c15b98138a4" providerId="ADAL" clId="{C501D7D1-386F-4507-9267-B8938CF1C372}" dt="2023-10-10T12:25:05.938" v="1265" actId="1076"/>
          <ac:grpSpMkLst>
            <pc:docMk/>
            <pc:sldMk cId="2319192221" sldId="2147377171"/>
            <ac:grpSpMk id="1322" creationId="{22C159C5-8387-583C-1E2B-C49C9A76F74D}"/>
          </ac:grpSpMkLst>
        </pc:grpChg>
        <pc:grpChg chg="mod">
          <ac:chgData name="Fatma Alsagaf" userId="ef587b5e-378a-4bb3-aa9f-3c15b98138a4" providerId="ADAL" clId="{C501D7D1-386F-4507-9267-B8938CF1C372}" dt="2023-10-10T12:23:01.092" v="1243"/>
          <ac:grpSpMkLst>
            <pc:docMk/>
            <pc:sldMk cId="2319192221" sldId="2147377171"/>
            <ac:grpSpMk id="1323" creationId="{0A8CA426-9C4D-38B2-011C-C4ED98D4E9B6}"/>
          </ac:grpSpMkLst>
        </pc:grpChg>
        <pc:grpChg chg="add mod">
          <ac:chgData name="Fatma Alsagaf" userId="ef587b5e-378a-4bb3-aa9f-3c15b98138a4" providerId="ADAL" clId="{C501D7D1-386F-4507-9267-B8938CF1C372}" dt="2023-10-10T12:23:09.280" v="1247" actId="1036"/>
          <ac:grpSpMkLst>
            <pc:docMk/>
            <pc:sldMk cId="2319192221" sldId="2147377171"/>
            <ac:grpSpMk id="1329" creationId="{7A43175F-4905-3E00-FA15-68C1CDC70164}"/>
          </ac:grpSpMkLst>
        </pc:grpChg>
        <pc:grpChg chg="mod">
          <ac:chgData name="Fatma Alsagaf" userId="ef587b5e-378a-4bb3-aa9f-3c15b98138a4" providerId="ADAL" clId="{C501D7D1-386F-4507-9267-B8938CF1C372}" dt="2023-10-10T12:23:01.092" v="1243"/>
          <ac:grpSpMkLst>
            <pc:docMk/>
            <pc:sldMk cId="2319192221" sldId="2147377171"/>
            <ac:grpSpMk id="1330" creationId="{08062622-36FD-63BD-951B-1078AEEA7788}"/>
          </ac:grpSpMkLst>
        </pc:grpChg>
        <pc:grpChg chg="add mod">
          <ac:chgData name="Fatma Alsagaf" userId="ef587b5e-378a-4bb3-aa9f-3c15b98138a4" providerId="ADAL" clId="{C501D7D1-386F-4507-9267-B8938CF1C372}" dt="2023-10-10T12:23:09.280" v="1247" actId="1036"/>
          <ac:grpSpMkLst>
            <pc:docMk/>
            <pc:sldMk cId="2319192221" sldId="2147377171"/>
            <ac:grpSpMk id="1336" creationId="{4CF61801-B511-9EF6-1714-B42D838114CE}"/>
          </ac:grpSpMkLst>
        </pc:grpChg>
        <pc:grpChg chg="mod">
          <ac:chgData name="Fatma Alsagaf" userId="ef587b5e-378a-4bb3-aa9f-3c15b98138a4" providerId="ADAL" clId="{C501D7D1-386F-4507-9267-B8938CF1C372}" dt="2023-10-10T12:23:01.092" v="1243"/>
          <ac:grpSpMkLst>
            <pc:docMk/>
            <pc:sldMk cId="2319192221" sldId="2147377171"/>
            <ac:grpSpMk id="1337" creationId="{82A5CD37-81E9-6E48-07A2-5C1163187CBA}"/>
          </ac:grpSpMkLst>
        </pc:grpChg>
        <pc:grpChg chg="add mod">
          <ac:chgData name="Fatma Alsagaf" userId="ef587b5e-378a-4bb3-aa9f-3c15b98138a4" providerId="ADAL" clId="{C501D7D1-386F-4507-9267-B8938CF1C372}" dt="2023-10-10T12:23:09.280" v="1247" actId="1036"/>
          <ac:grpSpMkLst>
            <pc:docMk/>
            <pc:sldMk cId="2319192221" sldId="2147377171"/>
            <ac:grpSpMk id="1343" creationId="{674F627B-CBC4-97C4-F700-7E8EAA8DCD5D}"/>
          </ac:grpSpMkLst>
        </pc:grpChg>
        <pc:grpChg chg="mod">
          <ac:chgData name="Fatma Alsagaf" userId="ef587b5e-378a-4bb3-aa9f-3c15b98138a4" providerId="ADAL" clId="{C501D7D1-386F-4507-9267-B8938CF1C372}" dt="2023-10-10T12:23:01.092" v="1243"/>
          <ac:grpSpMkLst>
            <pc:docMk/>
            <pc:sldMk cId="2319192221" sldId="2147377171"/>
            <ac:grpSpMk id="1344" creationId="{72C2A26B-0FE5-335B-EA35-BC858B0B5C85}"/>
          </ac:grpSpMkLst>
        </pc:grpChg>
        <pc:grpChg chg="add mod">
          <ac:chgData name="Fatma Alsagaf" userId="ef587b5e-378a-4bb3-aa9f-3c15b98138a4" providerId="ADAL" clId="{C501D7D1-386F-4507-9267-B8938CF1C372}" dt="2023-10-10T12:23:09.280" v="1247" actId="1036"/>
          <ac:grpSpMkLst>
            <pc:docMk/>
            <pc:sldMk cId="2319192221" sldId="2147377171"/>
            <ac:grpSpMk id="1350" creationId="{FA7D5BD1-0D6F-0A22-630C-3FDCD348D24A}"/>
          </ac:grpSpMkLst>
        </pc:grpChg>
        <pc:grpChg chg="mod">
          <ac:chgData name="Fatma Alsagaf" userId="ef587b5e-378a-4bb3-aa9f-3c15b98138a4" providerId="ADAL" clId="{C501D7D1-386F-4507-9267-B8938CF1C372}" dt="2023-10-10T12:23:01.092" v="1243"/>
          <ac:grpSpMkLst>
            <pc:docMk/>
            <pc:sldMk cId="2319192221" sldId="2147377171"/>
            <ac:grpSpMk id="1351" creationId="{2852AF2B-1136-42C8-C1B4-4FBF36E43076}"/>
          </ac:grpSpMkLst>
        </pc:grpChg>
        <pc:grpChg chg="add mod">
          <ac:chgData name="Fatma Alsagaf" userId="ef587b5e-378a-4bb3-aa9f-3c15b98138a4" providerId="ADAL" clId="{C501D7D1-386F-4507-9267-B8938CF1C372}" dt="2023-10-10T12:23:09.280" v="1247" actId="1036"/>
          <ac:grpSpMkLst>
            <pc:docMk/>
            <pc:sldMk cId="2319192221" sldId="2147377171"/>
            <ac:grpSpMk id="1357" creationId="{B263D04D-B1D1-62AF-F654-F7F3BFF8B297}"/>
          </ac:grpSpMkLst>
        </pc:grpChg>
        <pc:grpChg chg="mod">
          <ac:chgData name="Fatma Alsagaf" userId="ef587b5e-378a-4bb3-aa9f-3c15b98138a4" providerId="ADAL" clId="{C501D7D1-386F-4507-9267-B8938CF1C372}" dt="2023-10-10T12:23:01.092" v="1243"/>
          <ac:grpSpMkLst>
            <pc:docMk/>
            <pc:sldMk cId="2319192221" sldId="2147377171"/>
            <ac:grpSpMk id="1358" creationId="{D7B4F514-A20E-988E-6D25-A8D733AFFE6F}"/>
          </ac:grpSpMkLst>
        </pc:grpChg>
        <pc:grpChg chg="add mod">
          <ac:chgData name="Fatma Alsagaf" userId="ef587b5e-378a-4bb3-aa9f-3c15b98138a4" providerId="ADAL" clId="{C501D7D1-386F-4507-9267-B8938CF1C372}" dt="2023-10-10T12:26:46.235" v="1292" actId="1076"/>
          <ac:grpSpMkLst>
            <pc:docMk/>
            <pc:sldMk cId="2319192221" sldId="2147377171"/>
            <ac:grpSpMk id="1364" creationId="{02D5829D-6BB4-1360-450A-26114FA64CBE}"/>
          </ac:grpSpMkLst>
        </pc:grpChg>
        <pc:grpChg chg="mod">
          <ac:chgData name="Fatma Alsagaf" userId="ef587b5e-378a-4bb3-aa9f-3c15b98138a4" providerId="ADAL" clId="{C501D7D1-386F-4507-9267-B8938CF1C372}" dt="2023-10-10T12:26:41.634" v="1291"/>
          <ac:grpSpMkLst>
            <pc:docMk/>
            <pc:sldMk cId="2319192221" sldId="2147377171"/>
            <ac:grpSpMk id="1365" creationId="{7B2D0FA2-3565-9EB8-20D6-633E1D52D67A}"/>
          </ac:grpSpMkLst>
        </pc:grpChg>
        <pc:graphicFrameChg chg="add mod">
          <ac:chgData name="Fatma Alsagaf" userId="ef587b5e-378a-4bb3-aa9f-3c15b98138a4" providerId="ADAL" clId="{C501D7D1-386F-4507-9267-B8938CF1C372}" dt="2023-10-12T06:04:56.853" v="1466" actId="14100"/>
          <ac:graphicFrameMkLst>
            <pc:docMk/>
            <pc:sldMk cId="2319192221" sldId="2147377171"/>
            <ac:graphicFrameMk id="136" creationId="{7D31A3FE-1EBF-755C-BA47-51226B4931B9}"/>
          </ac:graphicFrameMkLst>
        </pc:graphicFrameChg>
        <pc:graphicFrameChg chg="add del">
          <ac:chgData name="Fatma Alsagaf" userId="ef587b5e-378a-4bb3-aa9f-3c15b98138a4" providerId="ADAL" clId="{C501D7D1-386F-4507-9267-B8938CF1C372}" dt="2023-10-10T05:45:10.061" v="143" actId="478"/>
          <ac:graphicFrameMkLst>
            <pc:docMk/>
            <pc:sldMk cId="2319192221" sldId="2147377171"/>
            <ac:graphicFrameMk id="209" creationId="{9DA7EAE3-0D46-5303-3B9F-2F3A8647645E}"/>
          </ac:graphicFrameMkLst>
        </pc:graphicFrameChg>
        <pc:picChg chg="add del">
          <ac:chgData name="Fatma Alsagaf" userId="ef587b5e-378a-4bb3-aa9f-3c15b98138a4" providerId="ADAL" clId="{C501D7D1-386F-4507-9267-B8938CF1C372}" dt="2023-10-10T05:45:10.061" v="143" actId="478"/>
          <ac:picMkLst>
            <pc:docMk/>
            <pc:sldMk cId="2319192221" sldId="2147377171"/>
            <ac:picMk id="282" creationId="{D1640643-6A34-28EC-BF3C-D95257A60634}"/>
          </ac:picMkLst>
        </pc:picChg>
        <pc:picChg chg="add del">
          <ac:chgData name="Fatma Alsagaf" userId="ef587b5e-378a-4bb3-aa9f-3c15b98138a4" providerId="ADAL" clId="{C501D7D1-386F-4507-9267-B8938CF1C372}" dt="2023-10-10T05:45:10.061" v="143" actId="478"/>
          <ac:picMkLst>
            <pc:docMk/>
            <pc:sldMk cId="2319192221" sldId="2147377171"/>
            <ac:picMk id="283" creationId="{1B48BF0F-B620-078A-8451-5619406635A2}"/>
          </ac:picMkLst>
        </pc:picChg>
        <pc:picChg chg="add del">
          <ac:chgData name="Fatma Alsagaf" userId="ef587b5e-378a-4bb3-aa9f-3c15b98138a4" providerId="ADAL" clId="{C501D7D1-386F-4507-9267-B8938CF1C372}" dt="2023-10-10T05:45:10.061" v="143" actId="478"/>
          <ac:picMkLst>
            <pc:docMk/>
            <pc:sldMk cId="2319192221" sldId="2147377171"/>
            <ac:picMk id="284" creationId="{F213280A-B442-64D9-E304-DDD39F64D851}"/>
          </ac:picMkLst>
        </pc:picChg>
        <pc:picChg chg="add del">
          <ac:chgData name="Fatma Alsagaf" userId="ef587b5e-378a-4bb3-aa9f-3c15b98138a4" providerId="ADAL" clId="{C501D7D1-386F-4507-9267-B8938CF1C372}" dt="2023-10-10T05:45:10.061" v="143" actId="478"/>
          <ac:picMkLst>
            <pc:docMk/>
            <pc:sldMk cId="2319192221" sldId="2147377171"/>
            <ac:picMk id="285" creationId="{580ACE84-C241-48FF-8AD4-9DE56D937388}"/>
          </ac:picMkLst>
        </pc:picChg>
        <pc:picChg chg="add del mod">
          <ac:chgData name="Fatma Alsagaf" userId="ef587b5e-378a-4bb3-aa9f-3c15b98138a4" providerId="ADAL" clId="{C501D7D1-386F-4507-9267-B8938CF1C372}" dt="2023-10-10T10:54:21.341" v="975"/>
          <ac:picMkLst>
            <pc:docMk/>
            <pc:sldMk cId="2319192221" sldId="2147377171"/>
            <ac:picMk id="310" creationId="{B3C58576-D5C3-61F8-5077-2921E269B7C2}"/>
          </ac:picMkLst>
        </pc:picChg>
        <pc:picChg chg="add del mod">
          <ac:chgData name="Fatma Alsagaf" userId="ef587b5e-378a-4bb3-aa9f-3c15b98138a4" providerId="ADAL" clId="{C501D7D1-386F-4507-9267-B8938CF1C372}" dt="2023-10-10T10:54:46.527" v="981"/>
          <ac:picMkLst>
            <pc:docMk/>
            <pc:sldMk cId="2319192221" sldId="2147377171"/>
            <ac:picMk id="317" creationId="{BE3F4E53-7F57-C071-A5F7-95FBEB52EB9C}"/>
          </ac:picMkLst>
        </pc:picChg>
        <pc:picChg chg="add mod">
          <ac:chgData name="Fatma Alsagaf" userId="ef587b5e-378a-4bb3-aa9f-3c15b98138a4" providerId="ADAL" clId="{C501D7D1-386F-4507-9267-B8938CF1C372}" dt="2023-10-11T12:49:26.967" v="1462" actId="1076"/>
          <ac:picMkLst>
            <pc:docMk/>
            <pc:sldMk cId="2319192221" sldId="2147377171"/>
            <ac:picMk id="1026" creationId="{E2B3303D-2328-2E54-60F2-BB3B5DE6DBF4}"/>
          </ac:picMkLst>
        </pc:picChg>
        <pc:picChg chg="add del mod">
          <ac:chgData name="Fatma Alsagaf" userId="ef587b5e-378a-4bb3-aa9f-3c15b98138a4" providerId="ADAL" clId="{C501D7D1-386F-4507-9267-B8938CF1C372}" dt="2023-10-10T06:16:40.164" v="278" actId="478"/>
          <ac:picMkLst>
            <pc:docMk/>
            <pc:sldMk cId="2319192221" sldId="2147377171"/>
            <ac:picMk id="1028" creationId="{3947BA2D-3B86-AE75-CA76-EF0B0AFBBECD}"/>
          </ac:picMkLst>
        </pc:picChg>
        <pc:picChg chg="add del mod">
          <ac:chgData name="Fatma Alsagaf" userId="ef587b5e-378a-4bb3-aa9f-3c15b98138a4" providerId="ADAL" clId="{C501D7D1-386F-4507-9267-B8938CF1C372}" dt="2023-10-10T06:32:25.582" v="386" actId="478"/>
          <ac:picMkLst>
            <pc:docMk/>
            <pc:sldMk cId="2319192221" sldId="2147377171"/>
            <ac:picMk id="1030" creationId="{CCB9FEF6-E76A-0F0E-704F-85E61A936BA1}"/>
          </ac:picMkLst>
        </pc:picChg>
        <pc:picChg chg="add mod">
          <ac:chgData name="Fatma Alsagaf" userId="ef587b5e-378a-4bb3-aa9f-3c15b98138a4" providerId="ADAL" clId="{C501D7D1-386F-4507-9267-B8938CF1C372}" dt="2023-10-10T08:48:08.475" v="545" actId="1036"/>
          <ac:picMkLst>
            <pc:docMk/>
            <pc:sldMk cId="2319192221" sldId="2147377171"/>
            <ac:picMk id="1032" creationId="{EB629250-D17D-0DA9-142D-2D8E6C9A0A4F}"/>
          </ac:picMkLst>
        </pc:picChg>
        <pc:picChg chg="add del mod">
          <ac:chgData name="Fatma Alsagaf" userId="ef587b5e-378a-4bb3-aa9f-3c15b98138a4" providerId="ADAL" clId="{C501D7D1-386F-4507-9267-B8938CF1C372}" dt="2023-10-10T10:54:45.797" v="980"/>
          <ac:picMkLst>
            <pc:docMk/>
            <pc:sldMk cId="2319192221" sldId="2147377171"/>
            <ac:picMk id="1092" creationId="{13FD3192-34C1-9E2E-39B7-59DA87DD1FDE}"/>
          </ac:picMkLst>
        </pc:picChg>
        <pc:picChg chg="add del mod">
          <ac:chgData name="Fatma Alsagaf" userId="ef587b5e-378a-4bb3-aa9f-3c15b98138a4" providerId="ADAL" clId="{C501D7D1-386F-4507-9267-B8938CF1C372}" dt="2023-10-10T10:54:53.370" v="985"/>
          <ac:picMkLst>
            <pc:docMk/>
            <pc:sldMk cId="2319192221" sldId="2147377171"/>
            <ac:picMk id="1099" creationId="{079FAD39-FAE6-8850-D293-89630111AD3D}"/>
          </ac:picMkLst>
        </pc:picChg>
        <pc:picChg chg="add del mod">
          <ac:chgData name="Fatma Alsagaf" userId="ef587b5e-378a-4bb3-aa9f-3c15b98138a4" providerId="ADAL" clId="{C501D7D1-386F-4507-9267-B8938CF1C372}" dt="2023-10-10T10:57:47.973" v="987"/>
          <ac:picMkLst>
            <pc:docMk/>
            <pc:sldMk cId="2319192221" sldId="2147377171"/>
            <ac:picMk id="1107" creationId="{651DAB84-00A8-C5C0-A621-2C78C369152C}"/>
          </ac:picMkLst>
        </pc:picChg>
        <pc:picChg chg="add mod">
          <ac:chgData name="Fatma Alsagaf" userId="ef587b5e-378a-4bb3-aa9f-3c15b98138a4" providerId="ADAL" clId="{C501D7D1-386F-4507-9267-B8938CF1C372}" dt="2023-10-10T10:57:53.517" v="989" actId="164"/>
          <ac:picMkLst>
            <pc:docMk/>
            <pc:sldMk cId="2319192221" sldId="2147377171"/>
            <ac:picMk id="1115" creationId="{62F739F0-BD70-2FAB-9130-978B04B0C980}"/>
          </ac:picMkLst>
        </pc:picChg>
        <pc:cxnChg chg="add del mod">
          <ac:chgData name="Fatma Alsagaf" userId="ef587b5e-378a-4bb3-aa9f-3c15b98138a4" providerId="ADAL" clId="{C501D7D1-386F-4507-9267-B8938CF1C372}" dt="2023-10-10T05:57:51.154" v="177" actId="478"/>
          <ac:cxnSpMkLst>
            <pc:docMk/>
            <pc:sldMk cId="2319192221" sldId="2147377171"/>
            <ac:cxnSpMk id="5" creationId="{0075EDEE-7156-CDC5-9EEA-D8AFD1C925C7}"/>
          </ac:cxnSpMkLst>
        </pc:cxnChg>
        <pc:cxnChg chg="add del mod">
          <ac:chgData name="Fatma Alsagaf" userId="ef587b5e-378a-4bb3-aa9f-3c15b98138a4" providerId="ADAL" clId="{C501D7D1-386F-4507-9267-B8938CF1C372}" dt="2023-10-10T05:58:18.489" v="181"/>
          <ac:cxnSpMkLst>
            <pc:docMk/>
            <pc:sldMk cId="2319192221" sldId="2147377171"/>
            <ac:cxnSpMk id="15" creationId="{4B8EC374-CE73-F255-62EE-7519D26AB116}"/>
          </ac:cxnSpMkLst>
        </pc:cxnChg>
        <pc:cxnChg chg="add del mod">
          <ac:chgData name="Fatma Alsagaf" userId="ef587b5e-378a-4bb3-aa9f-3c15b98138a4" providerId="ADAL" clId="{C501D7D1-386F-4507-9267-B8938CF1C372}" dt="2023-10-10T05:58:18.489" v="181"/>
          <ac:cxnSpMkLst>
            <pc:docMk/>
            <pc:sldMk cId="2319192221" sldId="2147377171"/>
            <ac:cxnSpMk id="16" creationId="{C5B720BC-52E4-8F8E-DAF3-6CCFF6CD3F09}"/>
          </ac:cxnSpMkLst>
        </pc:cxnChg>
        <pc:cxnChg chg="add del mod">
          <ac:chgData name="Fatma Alsagaf" userId="ef587b5e-378a-4bb3-aa9f-3c15b98138a4" providerId="ADAL" clId="{C501D7D1-386F-4507-9267-B8938CF1C372}" dt="2023-10-10T05:58:18.489" v="181"/>
          <ac:cxnSpMkLst>
            <pc:docMk/>
            <pc:sldMk cId="2319192221" sldId="2147377171"/>
            <ac:cxnSpMk id="18" creationId="{32B4C21F-684F-9A8A-4A89-C91589423F5D}"/>
          </ac:cxnSpMkLst>
        </pc:cxnChg>
        <pc:cxnChg chg="add mod">
          <ac:chgData name="Fatma Alsagaf" userId="ef587b5e-378a-4bb3-aa9f-3c15b98138a4" providerId="ADAL" clId="{C501D7D1-386F-4507-9267-B8938CF1C372}" dt="2023-10-10T08:48:08.475" v="545" actId="1036"/>
          <ac:cxnSpMkLst>
            <pc:docMk/>
            <pc:sldMk cId="2319192221" sldId="2147377171"/>
            <ac:cxnSpMk id="34" creationId="{71C136B1-E963-526B-D3B9-8E11C4D011DF}"/>
          </ac:cxnSpMkLst>
        </pc:cxnChg>
        <pc:cxnChg chg="add del mod">
          <ac:chgData name="Fatma Alsagaf" userId="ef587b5e-378a-4bb3-aa9f-3c15b98138a4" providerId="ADAL" clId="{C501D7D1-386F-4507-9267-B8938CF1C372}" dt="2023-10-10T08:49:16.688" v="548" actId="478"/>
          <ac:cxnSpMkLst>
            <pc:docMk/>
            <pc:sldMk cId="2319192221" sldId="2147377171"/>
            <ac:cxnSpMk id="35" creationId="{3D7AF22D-0A82-095F-09B6-33A1D8387B74}"/>
          </ac:cxnSpMkLst>
        </pc:cxnChg>
        <pc:cxnChg chg="add mod">
          <ac:chgData name="Fatma Alsagaf" userId="ef587b5e-378a-4bb3-aa9f-3c15b98138a4" providerId="ADAL" clId="{C501D7D1-386F-4507-9267-B8938CF1C372}" dt="2023-10-10T08:46:27.313" v="533" actId="1076"/>
          <ac:cxnSpMkLst>
            <pc:docMk/>
            <pc:sldMk cId="2319192221" sldId="2147377171"/>
            <ac:cxnSpMk id="37" creationId="{4D8BFAAF-3991-9700-CC4A-FB1A9CA43FA0}"/>
          </ac:cxnSpMkLst>
        </pc:cxnChg>
        <pc:cxnChg chg="add del mod">
          <ac:chgData name="Fatma Alsagaf" userId="ef587b5e-378a-4bb3-aa9f-3c15b98138a4" providerId="ADAL" clId="{C501D7D1-386F-4507-9267-B8938CF1C372}" dt="2023-10-10T06:23:33.638" v="369"/>
          <ac:cxnSpMkLst>
            <pc:docMk/>
            <pc:sldMk cId="2319192221" sldId="2147377171"/>
            <ac:cxnSpMk id="54" creationId="{C5044613-D5D0-DED2-81BE-F9CB94F8C5B0}"/>
          </ac:cxnSpMkLst>
        </pc:cxnChg>
        <pc:cxnChg chg="add mod">
          <ac:chgData name="Fatma Alsagaf" userId="ef587b5e-378a-4bb3-aa9f-3c15b98138a4" providerId="ADAL" clId="{C501D7D1-386F-4507-9267-B8938CF1C372}" dt="2023-10-17T12:26:32.703" v="1510" actId="1035"/>
          <ac:cxnSpMkLst>
            <pc:docMk/>
            <pc:sldMk cId="2319192221" sldId="2147377171"/>
            <ac:cxnSpMk id="60" creationId="{F623156C-4545-0C68-76E6-F56A603B3D62}"/>
          </ac:cxnSpMkLst>
        </pc:cxnChg>
        <pc:cxnChg chg="add del mod">
          <ac:chgData name="Fatma Alsagaf" userId="ef587b5e-378a-4bb3-aa9f-3c15b98138a4" providerId="ADAL" clId="{C501D7D1-386F-4507-9267-B8938CF1C372}" dt="2023-10-10T07:39:43.574" v="422"/>
          <ac:cxnSpMkLst>
            <pc:docMk/>
            <pc:sldMk cId="2319192221" sldId="2147377171"/>
            <ac:cxnSpMk id="154" creationId="{6BCD2326-4C65-DBBA-99FA-0DA19F671B15}"/>
          </ac:cxnSpMkLst>
        </pc:cxnChg>
        <pc:cxnChg chg="add mod">
          <ac:chgData name="Fatma Alsagaf" userId="ef587b5e-378a-4bb3-aa9f-3c15b98138a4" providerId="ADAL" clId="{C501D7D1-386F-4507-9267-B8938CF1C372}" dt="2023-10-10T07:42:23.276" v="430" actId="1076"/>
          <ac:cxnSpMkLst>
            <pc:docMk/>
            <pc:sldMk cId="2319192221" sldId="2147377171"/>
            <ac:cxnSpMk id="160" creationId="{65DE2AEB-7804-110E-BE52-CA38EF54EEEA}"/>
          </ac:cxnSpMkLst>
        </pc:cxnChg>
        <pc:cxnChg chg="add del">
          <ac:chgData name="Fatma Alsagaf" userId="ef587b5e-378a-4bb3-aa9f-3c15b98138a4" providerId="ADAL" clId="{C501D7D1-386F-4507-9267-B8938CF1C372}" dt="2023-10-10T05:45:10.061" v="143" actId="478"/>
          <ac:cxnSpMkLst>
            <pc:docMk/>
            <pc:sldMk cId="2319192221" sldId="2147377171"/>
            <ac:cxnSpMk id="186" creationId="{04482A55-B0E2-C10B-9749-9DCD8C735AFE}"/>
          </ac:cxnSpMkLst>
        </pc:cxnChg>
        <pc:cxnChg chg="add del">
          <ac:chgData name="Fatma Alsagaf" userId="ef587b5e-378a-4bb3-aa9f-3c15b98138a4" providerId="ADAL" clId="{C501D7D1-386F-4507-9267-B8938CF1C372}" dt="2023-10-10T05:45:10.061" v="143" actId="478"/>
          <ac:cxnSpMkLst>
            <pc:docMk/>
            <pc:sldMk cId="2319192221" sldId="2147377171"/>
            <ac:cxnSpMk id="187" creationId="{0603A1C3-6539-A1FD-89C7-58112A2661E6}"/>
          </ac:cxnSpMkLst>
        </pc:cxnChg>
        <pc:cxnChg chg="add del">
          <ac:chgData name="Fatma Alsagaf" userId="ef587b5e-378a-4bb3-aa9f-3c15b98138a4" providerId="ADAL" clId="{C501D7D1-386F-4507-9267-B8938CF1C372}" dt="2023-10-10T05:45:10.061" v="143" actId="478"/>
          <ac:cxnSpMkLst>
            <pc:docMk/>
            <pc:sldMk cId="2319192221" sldId="2147377171"/>
            <ac:cxnSpMk id="188" creationId="{4280786B-29E6-881D-4F70-579DB3B3B684}"/>
          </ac:cxnSpMkLst>
        </pc:cxnChg>
        <pc:cxnChg chg="add del">
          <ac:chgData name="Fatma Alsagaf" userId="ef587b5e-378a-4bb3-aa9f-3c15b98138a4" providerId="ADAL" clId="{C501D7D1-386F-4507-9267-B8938CF1C372}" dt="2023-10-10T05:45:10.061" v="143" actId="478"/>
          <ac:cxnSpMkLst>
            <pc:docMk/>
            <pc:sldMk cId="2319192221" sldId="2147377171"/>
            <ac:cxnSpMk id="190" creationId="{4E64CED4-849E-234C-690B-F7251B41474C}"/>
          </ac:cxnSpMkLst>
        </pc:cxnChg>
        <pc:cxnChg chg="del">
          <ac:chgData name="Fatma Alsagaf" userId="ef587b5e-378a-4bb3-aa9f-3c15b98138a4" providerId="ADAL" clId="{C501D7D1-386F-4507-9267-B8938CF1C372}" dt="2023-10-10T05:44:58.455" v="140" actId="478"/>
          <ac:cxnSpMkLst>
            <pc:docMk/>
            <pc:sldMk cId="2319192221" sldId="2147377171"/>
            <ac:cxnSpMk id="192" creationId="{A5BF4C3C-610A-3BBD-EDE7-FABC83459C36}"/>
          </ac:cxnSpMkLst>
        </pc:cxnChg>
        <pc:cxnChg chg="add del">
          <ac:chgData name="Fatma Alsagaf" userId="ef587b5e-378a-4bb3-aa9f-3c15b98138a4" providerId="ADAL" clId="{C501D7D1-386F-4507-9267-B8938CF1C372}" dt="2023-10-10T05:45:10.061" v="143" actId="478"/>
          <ac:cxnSpMkLst>
            <pc:docMk/>
            <pc:sldMk cId="2319192221" sldId="2147377171"/>
            <ac:cxnSpMk id="194" creationId="{12CC32CD-CE14-C4AE-F072-4BA447FE95B4}"/>
          </ac:cxnSpMkLst>
        </pc:cxnChg>
        <pc:cxnChg chg="add del">
          <ac:chgData name="Fatma Alsagaf" userId="ef587b5e-378a-4bb3-aa9f-3c15b98138a4" providerId="ADAL" clId="{C501D7D1-386F-4507-9267-B8938CF1C372}" dt="2023-10-10T05:45:10.061" v="143" actId="478"/>
          <ac:cxnSpMkLst>
            <pc:docMk/>
            <pc:sldMk cId="2319192221" sldId="2147377171"/>
            <ac:cxnSpMk id="196" creationId="{4DBE9483-8536-7801-1109-2D230781F0DA}"/>
          </ac:cxnSpMkLst>
        </pc:cxnChg>
        <pc:cxnChg chg="add del">
          <ac:chgData name="Fatma Alsagaf" userId="ef587b5e-378a-4bb3-aa9f-3c15b98138a4" providerId="ADAL" clId="{C501D7D1-386F-4507-9267-B8938CF1C372}" dt="2023-10-10T05:45:10.061" v="143" actId="478"/>
          <ac:cxnSpMkLst>
            <pc:docMk/>
            <pc:sldMk cId="2319192221" sldId="2147377171"/>
            <ac:cxnSpMk id="208" creationId="{2248981A-21AA-DB52-4A20-73D987DD6BAC}"/>
          </ac:cxnSpMkLst>
        </pc:cxnChg>
        <pc:cxnChg chg="add del">
          <ac:chgData name="Fatma Alsagaf" userId="ef587b5e-378a-4bb3-aa9f-3c15b98138a4" providerId="ADAL" clId="{C501D7D1-386F-4507-9267-B8938CF1C372}" dt="2023-10-10T05:45:10.061" v="143" actId="478"/>
          <ac:cxnSpMkLst>
            <pc:docMk/>
            <pc:sldMk cId="2319192221" sldId="2147377171"/>
            <ac:cxnSpMk id="274" creationId="{E822AB7F-9FFF-FB02-6887-3E316A84D089}"/>
          </ac:cxnSpMkLst>
        </pc:cxnChg>
        <pc:cxnChg chg="add del">
          <ac:chgData name="Fatma Alsagaf" userId="ef587b5e-378a-4bb3-aa9f-3c15b98138a4" providerId="ADAL" clId="{C501D7D1-386F-4507-9267-B8938CF1C372}" dt="2023-10-10T05:45:10.061" v="143" actId="478"/>
          <ac:cxnSpMkLst>
            <pc:docMk/>
            <pc:sldMk cId="2319192221" sldId="2147377171"/>
            <ac:cxnSpMk id="278" creationId="{5C33A8F0-7884-A588-51E3-870E1EC937A8}"/>
          </ac:cxnSpMkLst>
        </pc:cxnChg>
        <pc:cxnChg chg="add mod">
          <ac:chgData name="Fatma Alsagaf" userId="ef587b5e-378a-4bb3-aa9f-3c15b98138a4" providerId="ADAL" clId="{C501D7D1-386F-4507-9267-B8938CF1C372}" dt="2023-10-10T08:58:06.445" v="610" actId="1076"/>
          <ac:cxnSpMkLst>
            <pc:docMk/>
            <pc:sldMk cId="2319192221" sldId="2147377171"/>
            <ac:cxnSpMk id="1050" creationId="{AB3C60D0-FF39-33F9-D352-65AB6E3EC2EE}"/>
          </ac:cxnSpMkLst>
        </pc:cxnChg>
        <pc:cxnChg chg="add mod">
          <ac:chgData name="Fatma Alsagaf" userId="ef587b5e-378a-4bb3-aa9f-3c15b98138a4" providerId="ADAL" clId="{C501D7D1-386F-4507-9267-B8938CF1C372}" dt="2023-10-10T08:58:14.893" v="612" actId="1076"/>
          <ac:cxnSpMkLst>
            <pc:docMk/>
            <pc:sldMk cId="2319192221" sldId="2147377171"/>
            <ac:cxnSpMk id="1052" creationId="{93C9439D-5722-2B4E-398C-2535AFF58F0E}"/>
          </ac:cxnSpMkLst>
        </pc:cxnChg>
        <pc:cxnChg chg="add mod">
          <ac:chgData name="Fatma Alsagaf" userId="ef587b5e-378a-4bb3-aa9f-3c15b98138a4" providerId="ADAL" clId="{C501D7D1-386F-4507-9267-B8938CF1C372}" dt="2023-10-10T11:24:57.309" v="1090" actId="14100"/>
          <ac:cxnSpMkLst>
            <pc:docMk/>
            <pc:sldMk cId="2319192221" sldId="2147377171"/>
            <ac:cxnSpMk id="1151" creationId="{7E7AD527-1951-8BFD-0CDC-38CC898364A3}"/>
          </ac:cxnSpMkLst>
        </pc:cxnChg>
      </pc:sldChg>
      <pc:sldChg chg="addSp delSp modSp new del mod">
        <pc:chgData name="Fatma Alsagaf" userId="ef587b5e-378a-4bb3-aa9f-3c15b98138a4" providerId="ADAL" clId="{C501D7D1-386F-4507-9267-B8938CF1C372}" dt="2023-10-17T20:42:02.006" v="2086" actId="47"/>
        <pc:sldMkLst>
          <pc:docMk/>
          <pc:sldMk cId="262478175" sldId="2147377172"/>
        </pc:sldMkLst>
        <pc:spChg chg="del">
          <ac:chgData name="Fatma Alsagaf" userId="ef587b5e-378a-4bb3-aa9f-3c15b98138a4" providerId="ADAL" clId="{C501D7D1-386F-4507-9267-B8938CF1C372}" dt="2023-10-10T12:41:44.037" v="1437" actId="478"/>
          <ac:spMkLst>
            <pc:docMk/>
            <pc:sldMk cId="262478175" sldId="2147377172"/>
            <ac:spMk id="2" creationId="{6C714119-5C37-F84D-A9B7-2C85668704EB}"/>
          </ac:spMkLst>
        </pc:spChg>
        <pc:spChg chg="add del mod">
          <ac:chgData name="Fatma Alsagaf" userId="ef587b5e-378a-4bb3-aa9f-3c15b98138a4" providerId="ADAL" clId="{C501D7D1-386F-4507-9267-B8938CF1C372}" dt="2023-10-10T12:41:41.704" v="1436"/>
          <ac:spMkLst>
            <pc:docMk/>
            <pc:sldMk cId="262478175" sldId="2147377172"/>
            <ac:spMk id="3" creationId="{CB331A84-CE03-56C4-E694-1270BBEA846E}"/>
          </ac:spMkLst>
        </pc:spChg>
        <pc:spChg chg="add mod">
          <ac:chgData name="Fatma Alsagaf" userId="ef587b5e-378a-4bb3-aa9f-3c15b98138a4" providerId="ADAL" clId="{C501D7D1-386F-4507-9267-B8938CF1C372}" dt="2023-10-10T12:42:03.554" v="1458" actId="20577"/>
          <ac:spMkLst>
            <pc:docMk/>
            <pc:sldMk cId="262478175" sldId="2147377172"/>
            <ac:spMk id="4" creationId="{75DC1F15-F86A-8A30-2343-4D3CCAD0AEC3}"/>
          </ac:spMkLst>
        </pc:spChg>
        <pc:spChg chg="add del mod">
          <ac:chgData name="Fatma Alsagaf" userId="ef587b5e-378a-4bb3-aa9f-3c15b98138a4" providerId="ADAL" clId="{C501D7D1-386F-4507-9267-B8938CF1C372}" dt="2023-10-17T17:53:58.287" v="1977" actId="478"/>
          <ac:spMkLst>
            <pc:docMk/>
            <pc:sldMk cId="262478175" sldId="2147377172"/>
            <ac:spMk id="5" creationId="{7261D9D9-0EFE-1C6C-071E-F40E05267C40}"/>
          </ac:spMkLst>
        </pc:spChg>
        <pc:spChg chg="add del mod">
          <ac:chgData name="Fatma Alsagaf" userId="ef587b5e-378a-4bb3-aa9f-3c15b98138a4" providerId="ADAL" clId="{C501D7D1-386F-4507-9267-B8938CF1C372}" dt="2023-10-17T17:53:58.287" v="1977" actId="478"/>
          <ac:spMkLst>
            <pc:docMk/>
            <pc:sldMk cId="262478175" sldId="2147377172"/>
            <ac:spMk id="6" creationId="{8BE87EE4-56FB-F03B-BFED-AAD23F061ACA}"/>
          </ac:spMkLst>
        </pc:spChg>
        <pc:spChg chg="add del mod">
          <ac:chgData name="Fatma Alsagaf" userId="ef587b5e-378a-4bb3-aa9f-3c15b98138a4" providerId="ADAL" clId="{C501D7D1-386F-4507-9267-B8938CF1C372}" dt="2023-10-17T17:53:58.287" v="1977" actId="478"/>
          <ac:spMkLst>
            <pc:docMk/>
            <pc:sldMk cId="262478175" sldId="2147377172"/>
            <ac:spMk id="7" creationId="{9157DD7F-161D-C016-1BBF-1BE8DB760B0C}"/>
          </ac:spMkLst>
        </pc:spChg>
        <pc:spChg chg="add del mod">
          <ac:chgData name="Fatma Alsagaf" userId="ef587b5e-378a-4bb3-aa9f-3c15b98138a4" providerId="ADAL" clId="{C501D7D1-386F-4507-9267-B8938CF1C372}" dt="2023-10-17T17:53:58.287" v="1977" actId="478"/>
          <ac:spMkLst>
            <pc:docMk/>
            <pc:sldMk cId="262478175" sldId="2147377172"/>
            <ac:spMk id="8" creationId="{AE861391-A911-E10A-F645-E46A8BC52395}"/>
          </ac:spMkLst>
        </pc:spChg>
        <pc:spChg chg="add del mod">
          <ac:chgData name="Fatma Alsagaf" userId="ef587b5e-378a-4bb3-aa9f-3c15b98138a4" providerId="ADAL" clId="{C501D7D1-386F-4507-9267-B8938CF1C372}" dt="2023-10-17T17:53:58.287" v="1977" actId="478"/>
          <ac:spMkLst>
            <pc:docMk/>
            <pc:sldMk cId="262478175" sldId="2147377172"/>
            <ac:spMk id="9" creationId="{9FFCEB24-91BB-B08D-F543-65AF81C79F00}"/>
          </ac:spMkLst>
        </pc:spChg>
        <pc:spChg chg="add del mod">
          <ac:chgData name="Fatma Alsagaf" userId="ef587b5e-378a-4bb3-aa9f-3c15b98138a4" providerId="ADAL" clId="{C501D7D1-386F-4507-9267-B8938CF1C372}" dt="2023-10-17T17:53:50.752" v="1976" actId="478"/>
          <ac:spMkLst>
            <pc:docMk/>
            <pc:sldMk cId="262478175" sldId="2147377172"/>
            <ac:spMk id="10" creationId="{CA63EF25-14D8-1082-D836-41CAB24340D3}"/>
          </ac:spMkLst>
        </pc:spChg>
        <pc:spChg chg="add mod">
          <ac:chgData name="Fatma Alsagaf" userId="ef587b5e-378a-4bb3-aa9f-3c15b98138a4" providerId="ADAL" clId="{C501D7D1-386F-4507-9267-B8938CF1C372}" dt="2023-10-17T17:54:03.700" v="1978"/>
          <ac:spMkLst>
            <pc:docMk/>
            <pc:sldMk cId="262478175" sldId="2147377172"/>
            <ac:spMk id="11" creationId="{ABA4C618-3BAE-F849-5BFD-B9AE51032EB0}"/>
          </ac:spMkLst>
        </pc:spChg>
        <pc:spChg chg="add mod">
          <ac:chgData name="Fatma Alsagaf" userId="ef587b5e-378a-4bb3-aa9f-3c15b98138a4" providerId="ADAL" clId="{C501D7D1-386F-4507-9267-B8938CF1C372}" dt="2023-10-17T17:54:03.700" v="1978"/>
          <ac:spMkLst>
            <pc:docMk/>
            <pc:sldMk cId="262478175" sldId="2147377172"/>
            <ac:spMk id="12" creationId="{8963A91E-EF54-A4FC-4DC0-F72975DFA429}"/>
          </ac:spMkLst>
        </pc:spChg>
        <pc:spChg chg="add mod">
          <ac:chgData name="Fatma Alsagaf" userId="ef587b5e-378a-4bb3-aa9f-3c15b98138a4" providerId="ADAL" clId="{C501D7D1-386F-4507-9267-B8938CF1C372}" dt="2023-10-17T17:54:03.700" v="1978"/>
          <ac:spMkLst>
            <pc:docMk/>
            <pc:sldMk cId="262478175" sldId="2147377172"/>
            <ac:spMk id="13" creationId="{7A8E4158-CCDE-A42C-4FC9-9D80653DAD9F}"/>
          </ac:spMkLst>
        </pc:spChg>
        <pc:spChg chg="add mod">
          <ac:chgData name="Fatma Alsagaf" userId="ef587b5e-378a-4bb3-aa9f-3c15b98138a4" providerId="ADAL" clId="{C501D7D1-386F-4507-9267-B8938CF1C372}" dt="2023-10-17T17:54:03.700" v="1978"/>
          <ac:spMkLst>
            <pc:docMk/>
            <pc:sldMk cId="262478175" sldId="2147377172"/>
            <ac:spMk id="14" creationId="{DA3E7F0F-9F70-2F34-DBB8-2744B142E553}"/>
          </ac:spMkLst>
        </pc:spChg>
        <pc:spChg chg="add mod">
          <ac:chgData name="Fatma Alsagaf" userId="ef587b5e-378a-4bb3-aa9f-3c15b98138a4" providerId="ADAL" clId="{C501D7D1-386F-4507-9267-B8938CF1C372}" dt="2023-10-17T17:54:03.700" v="1978"/>
          <ac:spMkLst>
            <pc:docMk/>
            <pc:sldMk cId="262478175" sldId="2147377172"/>
            <ac:spMk id="15" creationId="{75D26BDE-4707-0649-3D6E-9EE09D2C483B}"/>
          </ac:spMkLst>
        </pc:spChg>
        <pc:spChg chg="add mod">
          <ac:chgData name="Fatma Alsagaf" userId="ef587b5e-378a-4bb3-aa9f-3c15b98138a4" providerId="ADAL" clId="{C501D7D1-386F-4507-9267-B8938CF1C372}" dt="2023-10-17T17:54:03.700" v="1978"/>
          <ac:spMkLst>
            <pc:docMk/>
            <pc:sldMk cId="262478175" sldId="2147377172"/>
            <ac:spMk id="16" creationId="{C4E379A8-F753-1C0E-BB47-F946D110E61B}"/>
          </ac:spMkLst>
        </pc:spChg>
        <pc:spChg chg="add mod">
          <ac:chgData name="Fatma Alsagaf" userId="ef587b5e-378a-4bb3-aa9f-3c15b98138a4" providerId="ADAL" clId="{C501D7D1-386F-4507-9267-B8938CF1C372}" dt="2023-10-17T17:54:03.700" v="1978"/>
          <ac:spMkLst>
            <pc:docMk/>
            <pc:sldMk cId="262478175" sldId="2147377172"/>
            <ac:spMk id="17" creationId="{B7765717-69DB-4CA6-C644-605697C87B0E}"/>
          </ac:spMkLst>
        </pc:spChg>
        <pc:spChg chg="add mod">
          <ac:chgData name="Fatma Alsagaf" userId="ef587b5e-378a-4bb3-aa9f-3c15b98138a4" providerId="ADAL" clId="{C501D7D1-386F-4507-9267-B8938CF1C372}" dt="2023-10-17T17:54:03.700" v="1978"/>
          <ac:spMkLst>
            <pc:docMk/>
            <pc:sldMk cId="262478175" sldId="2147377172"/>
            <ac:spMk id="18" creationId="{70A10E02-C3EA-3C70-82D2-249BA5522927}"/>
          </ac:spMkLst>
        </pc:spChg>
        <pc:spChg chg="add mod">
          <ac:chgData name="Fatma Alsagaf" userId="ef587b5e-378a-4bb3-aa9f-3c15b98138a4" providerId="ADAL" clId="{C501D7D1-386F-4507-9267-B8938CF1C372}" dt="2023-10-17T17:54:03.700" v="1978"/>
          <ac:spMkLst>
            <pc:docMk/>
            <pc:sldMk cId="262478175" sldId="2147377172"/>
            <ac:spMk id="19" creationId="{CB62E129-3D68-1B4B-A1A0-E10103997E47}"/>
          </ac:spMkLst>
        </pc:spChg>
      </pc:sldChg>
      <pc:sldChg chg="del">
        <pc:chgData name="Fatma Alsagaf" userId="ef587b5e-378a-4bb3-aa9f-3c15b98138a4" providerId="ADAL" clId="{C501D7D1-386F-4507-9267-B8938CF1C372}" dt="2023-10-10T04:59:05.681" v="74" actId="47"/>
        <pc:sldMkLst>
          <pc:docMk/>
          <pc:sldMk cId="692795662" sldId="2147377172"/>
        </pc:sldMkLst>
      </pc:sldChg>
      <pc:sldChg chg="modSp add mod">
        <pc:chgData name="Fatma Alsagaf" userId="ef587b5e-378a-4bb3-aa9f-3c15b98138a4" providerId="ADAL" clId="{C501D7D1-386F-4507-9267-B8938CF1C372}" dt="2023-10-17T17:56:55.123" v="2085" actId="115"/>
        <pc:sldMkLst>
          <pc:docMk/>
          <pc:sldMk cId="57202049" sldId="2147377173"/>
        </pc:sldMkLst>
        <pc:spChg chg="mod">
          <ac:chgData name="Fatma Alsagaf" userId="ef587b5e-378a-4bb3-aa9f-3c15b98138a4" providerId="ADAL" clId="{C501D7D1-386F-4507-9267-B8938CF1C372}" dt="2023-10-17T17:56:55.123" v="2085" actId="115"/>
          <ac:spMkLst>
            <pc:docMk/>
            <pc:sldMk cId="57202049" sldId="2147377173"/>
            <ac:spMk id="4" creationId="{75DC1F15-F86A-8A30-2343-4D3CCAD0AEC3}"/>
          </ac:spMkLst>
        </pc:spChg>
      </pc:sldChg>
      <pc:sldChg chg="add del">
        <pc:chgData name="Fatma Alsagaf" userId="ef587b5e-378a-4bb3-aa9f-3c15b98138a4" providerId="ADAL" clId="{C501D7D1-386F-4507-9267-B8938CF1C372}" dt="2023-10-10T12:41:34.777" v="1434"/>
        <pc:sldMkLst>
          <pc:docMk/>
          <pc:sldMk cId="4260913919" sldId="2147377173"/>
        </pc:sldMkLst>
      </pc:sldChg>
      <pc:sldChg chg="del">
        <pc:chgData name="Fatma Alsagaf" userId="ef587b5e-378a-4bb3-aa9f-3c15b98138a4" providerId="ADAL" clId="{C501D7D1-386F-4507-9267-B8938CF1C372}" dt="2023-10-10T04:59:06.152" v="75" actId="47"/>
        <pc:sldMkLst>
          <pc:docMk/>
          <pc:sldMk cId="326889434" sldId="2147377174"/>
        </pc:sldMkLst>
      </pc:sldChg>
      <pc:sldChg chg="addSp delSp modSp add mod">
        <pc:chgData name="Fatma Alsagaf" userId="ef587b5e-378a-4bb3-aa9f-3c15b98138a4" providerId="ADAL" clId="{C501D7D1-386F-4507-9267-B8938CF1C372}" dt="2023-10-17T17:55:09.075" v="2008" actId="403"/>
        <pc:sldMkLst>
          <pc:docMk/>
          <pc:sldMk cId="2319275018" sldId="2147377174"/>
        </pc:sldMkLst>
        <pc:spChg chg="mod">
          <ac:chgData name="Fatma Alsagaf" userId="ef587b5e-378a-4bb3-aa9f-3c15b98138a4" providerId="ADAL" clId="{C501D7D1-386F-4507-9267-B8938CF1C372}" dt="2023-10-17T17:37:15.083" v="1952" actId="1076"/>
          <ac:spMkLst>
            <pc:docMk/>
            <pc:sldMk cId="2319275018" sldId="2147377174"/>
            <ac:spMk id="3" creationId="{852407B0-0573-CDC9-50DD-E8096290CE8D}"/>
          </ac:spMkLst>
        </pc:spChg>
        <pc:spChg chg="add mod">
          <ac:chgData name="Fatma Alsagaf" userId="ef587b5e-378a-4bb3-aa9f-3c15b98138a4" providerId="ADAL" clId="{C501D7D1-386F-4507-9267-B8938CF1C372}" dt="2023-10-17T17:34:17.751" v="1918" actId="14100"/>
          <ac:spMkLst>
            <pc:docMk/>
            <pc:sldMk cId="2319275018" sldId="2147377174"/>
            <ac:spMk id="5" creationId="{21293F2A-E891-F85B-285D-0290C15EB8E7}"/>
          </ac:spMkLst>
        </pc:spChg>
        <pc:spChg chg="add mod">
          <ac:chgData name="Fatma Alsagaf" userId="ef587b5e-378a-4bb3-aa9f-3c15b98138a4" providerId="ADAL" clId="{C501D7D1-386F-4507-9267-B8938CF1C372}" dt="2023-10-17T17:35:04.673" v="1946" actId="1076"/>
          <ac:spMkLst>
            <pc:docMk/>
            <pc:sldMk cId="2319275018" sldId="2147377174"/>
            <ac:spMk id="6" creationId="{40CDEA4F-ACE1-EBA6-AB19-79DBE6AA842A}"/>
          </ac:spMkLst>
        </pc:spChg>
        <pc:spChg chg="mod">
          <ac:chgData name="Fatma Alsagaf" userId="ef587b5e-378a-4bb3-aa9f-3c15b98138a4" providerId="ADAL" clId="{C501D7D1-386F-4507-9267-B8938CF1C372}" dt="2023-10-17T17:15:25.570" v="1730" actId="1035"/>
          <ac:spMkLst>
            <pc:docMk/>
            <pc:sldMk cId="2319275018" sldId="2147377174"/>
            <ac:spMk id="28" creationId="{31684403-2789-18C8-4EF3-7582DA4AC4CB}"/>
          </ac:spMkLst>
        </pc:spChg>
        <pc:spChg chg="mod">
          <ac:chgData name="Fatma Alsagaf" userId="ef587b5e-378a-4bb3-aa9f-3c15b98138a4" providerId="ADAL" clId="{C501D7D1-386F-4507-9267-B8938CF1C372}" dt="2023-10-17T17:15:03.556" v="1717" actId="1076"/>
          <ac:spMkLst>
            <pc:docMk/>
            <pc:sldMk cId="2319275018" sldId="2147377174"/>
            <ac:spMk id="29" creationId="{EEC22811-D449-C2BE-A6B5-0CAA4FF71188}"/>
          </ac:spMkLst>
        </pc:spChg>
        <pc:spChg chg="mod">
          <ac:chgData name="Fatma Alsagaf" userId="ef587b5e-378a-4bb3-aa9f-3c15b98138a4" providerId="ADAL" clId="{C501D7D1-386F-4507-9267-B8938CF1C372}" dt="2023-10-17T17:28:12.969" v="1842" actId="1035"/>
          <ac:spMkLst>
            <pc:docMk/>
            <pc:sldMk cId="2319275018" sldId="2147377174"/>
            <ac:spMk id="30" creationId="{AA0C7589-4DEE-819E-4028-361280E13EF8}"/>
          </ac:spMkLst>
        </pc:spChg>
        <pc:spChg chg="mod">
          <ac:chgData name="Fatma Alsagaf" userId="ef587b5e-378a-4bb3-aa9f-3c15b98138a4" providerId="ADAL" clId="{C501D7D1-386F-4507-9267-B8938CF1C372}" dt="2023-10-17T17:13:11.364" v="1674" actId="1076"/>
          <ac:spMkLst>
            <pc:docMk/>
            <pc:sldMk cId="2319275018" sldId="2147377174"/>
            <ac:spMk id="36" creationId="{90F9FBFC-0175-432B-05D9-9FB63CD61E2F}"/>
          </ac:spMkLst>
        </pc:spChg>
        <pc:spChg chg="mod">
          <ac:chgData name="Fatma Alsagaf" userId="ef587b5e-378a-4bb3-aa9f-3c15b98138a4" providerId="ADAL" clId="{C501D7D1-386F-4507-9267-B8938CF1C372}" dt="2023-10-17T17:12:00.434" v="1659" actId="1036"/>
          <ac:spMkLst>
            <pc:docMk/>
            <pc:sldMk cId="2319275018" sldId="2147377174"/>
            <ac:spMk id="44" creationId="{15E1D36B-AAE7-95DF-CC15-C0DF436052F0}"/>
          </ac:spMkLst>
        </pc:spChg>
        <pc:spChg chg="mod">
          <ac:chgData name="Fatma Alsagaf" userId="ef587b5e-378a-4bb3-aa9f-3c15b98138a4" providerId="ADAL" clId="{C501D7D1-386F-4507-9267-B8938CF1C372}" dt="2023-10-17T17:12:00.434" v="1659" actId="1036"/>
          <ac:spMkLst>
            <pc:docMk/>
            <pc:sldMk cId="2319275018" sldId="2147377174"/>
            <ac:spMk id="47" creationId="{74C87334-4C7A-7F5D-591A-E51A926798D1}"/>
          </ac:spMkLst>
        </pc:spChg>
        <pc:spChg chg="mod">
          <ac:chgData name="Fatma Alsagaf" userId="ef587b5e-378a-4bb3-aa9f-3c15b98138a4" providerId="ADAL" clId="{C501D7D1-386F-4507-9267-B8938CF1C372}" dt="2023-10-17T17:28:12.969" v="1842" actId="1035"/>
          <ac:spMkLst>
            <pc:docMk/>
            <pc:sldMk cId="2319275018" sldId="2147377174"/>
            <ac:spMk id="50" creationId="{ED4B2E75-A104-766D-1577-AE0D40963331}"/>
          </ac:spMkLst>
        </pc:spChg>
        <pc:spChg chg="mod">
          <ac:chgData name="Fatma Alsagaf" userId="ef587b5e-378a-4bb3-aa9f-3c15b98138a4" providerId="ADAL" clId="{C501D7D1-386F-4507-9267-B8938CF1C372}" dt="2023-10-17T17:54:24.996" v="1980" actId="1076"/>
          <ac:spMkLst>
            <pc:docMk/>
            <pc:sldMk cId="2319275018" sldId="2147377174"/>
            <ac:spMk id="59" creationId="{2DB4C73B-371D-8FFF-6A85-EA6240960E2E}"/>
          </ac:spMkLst>
        </pc:spChg>
        <pc:spChg chg="mod">
          <ac:chgData name="Fatma Alsagaf" userId="ef587b5e-378a-4bb3-aa9f-3c15b98138a4" providerId="ADAL" clId="{C501D7D1-386F-4507-9267-B8938CF1C372}" dt="2023-10-17T17:12:38.225" v="1668" actId="1035"/>
          <ac:spMkLst>
            <pc:docMk/>
            <pc:sldMk cId="2319275018" sldId="2147377174"/>
            <ac:spMk id="62" creationId="{C8253123-E184-7C71-E765-2BEBAB23C797}"/>
          </ac:spMkLst>
        </pc:spChg>
        <pc:spChg chg="mod">
          <ac:chgData name="Fatma Alsagaf" userId="ef587b5e-378a-4bb3-aa9f-3c15b98138a4" providerId="ADAL" clId="{C501D7D1-386F-4507-9267-B8938CF1C372}" dt="2023-10-17T17:12:38.225" v="1668" actId="1035"/>
          <ac:spMkLst>
            <pc:docMk/>
            <pc:sldMk cId="2319275018" sldId="2147377174"/>
            <ac:spMk id="63" creationId="{113D5525-8B6E-66D1-4B9F-D55CE7520D6F}"/>
          </ac:spMkLst>
        </pc:spChg>
        <pc:spChg chg="mod">
          <ac:chgData name="Fatma Alsagaf" userId="ef587b5e-378a-4bb3-aa9f-3c15b98138a4" providerId="ADAL" clId="{C501D7D1-386F-4507-9267-B8938CF1C372}" dt="2023-10-17T17:01:02.907" v="1589" actId="14100"/>
          <ac:spMkLst>
            <pc:docMk/>
            <pc:sldMk cId="2319275018" sldId="2147377174"/>
            <ac:spMk id="135" creationId="{CDEDFEA5-C7BA-7987-9B21-550AE4AB1778}"/>
          </ac:spMkLst>
        </pc:spChg>
        <pc:spChg chg="mod">
          <ac:chgData name="Fatma Alsagaf" userId="ef587b5e-378a-4bb3-aa9f-3c15b98138a4" providerId="ADAL" clId="{C501D7D1-386F-4507-9267-B8938CF1C372}" dt="2023-10-17T17:00:52.952" v="1588" actId="1035"/>
          <ac:spMkLst>
            <pc:docMk/>
            <pc:sldMk cId="2319275018" sldId="2147377174"/>
            <ac:spMk id="137" creationId="{276CB0EA-D6C2-1680-BD0C-059FBBE27A41}"/>
          </ac:spMkLst>
        </pc:spChg>
        <pc:spChg chg="mod">
          <ac:chgData name="Fatma Alsagaf" userId="ef587b5e-378a-4bb3-aa9f-3c15b98138a4" providerId="ADAL" clId="{C501D7D1-386F-4507-9267-B8938CF1C372}" dt="2023-10-17T17:37:11.002" v="1950" actId="207"/>
          <ac:spMkLst>
            <pc:docMk/>
            <pc:sldMk cId="2319275018" sldId="2147377174"/>
            <ac:spMk id="156" creationId="{5DA10FD7-65CF-2EB1-A159-0E9025AF92B0}"/>
          </ac:spMkLst>
        </pc:spChg>
        <pc:spChg chg="del">
          <ac:chgData name="Fatma Alsagaf" userId="ef587b5e-378a-4bb3-aa9f-3c15b98138a4" providerId="ADAL" clId="{C501D7D1-386F-4507-9267-B8938CF1C372}" dt="2023-10-17T16:26:00.336" v="1514" actId="478"/>
          <ac:spMkLst>
            <pc:docMk/>
            <pc:sldMk cId="2319275018" sldId="2147377174"/>
            <ac:spMk id="157" creationId="{DADE39F4-F342-EB13-73DC-F7FDEE036370}"/>
          </ac:spMkLst>
        </pc:spChg>
        <pc:spChg chg="mod">
          <ac:chgData name="Fatma Alsagaf" userId="ef587b5e-378a-4bb3-aa9f-3c15b98138a4" providerId="ADAL" clId="{C501D7D1-386F-4507-9267-B8938CF1C372}" dt="2023-10-17T16:26:44.845" v="1529" actId="1035"/>
          <ac:spMkLst>
            <pc:docMk/>
            <pc:sldMk cId="2319275018" sldId="2147377174"/>
            <ac:spMk id="159" creationId="{B1DC4F89-AD10-06EC-918F-3152316FC818}"/>
          </ac:spMkLst>
        </pc:spChg>
        <pc:spChg chg="mod">
          <ac:chgData name="Fatma Alsagaf" userId="ef587b5e-378a-4bb3-aa9f-3c15b98138a4" providerId="ADAL" clId="{C501D7D1-386F-4507-9267-B8938CF1C372}" dt="2023-10-17T17:28:12.969" v="1842" actId="1035"/>
          <ac:spMkLst>
            <pc:docMk/>
            <pc:sldMk cId="2319275018" sldId="2147377174"/>
            <ac:spMk id="161" creationId="{DBA70DBC-1DB9-5B7D-3789-B0E9F17509EC}"/>
          </ac:spMkLst>
        </pc:spChg>
        <pc:spChg chg="mod">
          <ac:chgData name="Fatma Alsagaf" userId="ef587b5e-378a-4bb3-aa9f-3c15b98138a4" providerId="ADAL" clId="{C501D7D1-386F-4507-9267-B8938CF1C372}" dt="2023-10-17T17:28:12.969" v="1842" actId="1035"/>
          <ac:spMkLst>
            <pc:docMk/>
            <pc:sldMk cId="2319275018" sldId="2147377174"/>
            <ac:spMk id="162" creationId="{5F64FB38-02FD-66A5-8C2D-4C7AA4C5F4B6}"/>
          </ac:spMkLst>
        </pc:spChg>
        <pc:spChg chg="add del mod">
          <ac:chgData name="Fatma Alsagaf" userId="ef587b5e-378a-4bb3-aa9f-3c15b98138a4" providerId="ADAL" clId="{C501D7D1-386F-4507-9267-B8938CF1C372}" dt="2023-10-17T17:54:40.468" v="1994" actId="1036"/>
          <ac:spMkLst>
            <pc:docMk/>
            <pc:sldMk cId="2319275018" sldId="2147377174"/>
            <ac:spMk id="164" creationId="{6DE44742-2C24-32A5-C609-4195E784BE8C}"/>
          </ac:spMkLst>
        </pc:spChg>
        <pc:spChg chg="mod">
          <ac:chgData name="Fatma Alsagaf" userId="ef587b5e-378a-4bb3-aa9f-3c15b98138a4" providerId="ADAL" clId="{C501D7D1-386F-4507-9267-B8938CF1C372}" dt="2023-10-17T17:12:00.434" v="1659" actId="1036"/>
          <ac:spMkLst>
            <pc:docMk/>
            <pc:sldMk cId="2319275018" sldId="2147377174"/>
            <ac:spMk id="166" creationId="{7C0D064A-75FA-21BE-5F77-3CCB6FE7C3D1}"/>
          </ac:spMkLst>
        </pc:spChg>
        <pc:spChg chg="mod">
          <ac:chgData name="Fatma Alsagaf" userId="ef587b5e-378a-4bb3-aa9f-3c15b98138a4" providerId="ADAL" clId="{C501D7D1-386F-4507-9267-B8938CF1C372}" dt="2023-10-17T17:12:00.434" v="1659" actId="1036"/>
          <ac:spMkLst>
            <pc:docMk/>
            <pc:sldMk cId="2319275018" sldId="2147377174"/>
            <ac:spMk id="167" creationId="{63A66815-8DCB-F7D8-5FFB-D95BF8F6CC73}"/>
          </ac:spMkLst>
        </pc:spChg>
        <pc:spChg chg="mod">
          <ac:chgData name="Fatma Alsagaf" userId="ef587b5e-378a-4bb3-aa9f-3c15b98138a4" providerId="ADAL" clId="{C501D7D1-386F-4507-9267-B8938CF1C372}" dt="2023-10-17T17:16:06.642" v="1763" actId="404"/>
          <ac:spMkLst>
            <pc:docMk/>
            <pc:sldMk cId="2319275018" sldId="2147377174"/>
            <ac:spMk id="168" creationId="{EE1842C1-F3DF-E2BE-3A59-BFFF9D5DC3B8}"/>
          </ac:spMkLst>
        </pc:spChg>
        <pc:spChg chg="add del mod">
          <ac:chgData name="Fatma Alsagaf" userId="ef587b5e-378a-4bb3-aa9f-3c15b98138a4" providerId="ADAL" clId="{C501D7D1-386F-4507-9267-B8938CF1C372}" dt="2023-10-17T17:33:11.697" v="1890" actId="21"/>
          <ac:spMkLst>
            <pc:docMk/>
            <pc:sldMk cId="2319275018" sldId="2147377174"/>
            <ac:spMk id="174" creationId="{BC5C9068-FFA4-4B71-5232-233A14D9388D}"/>
          </ac:spMkLst>
        </pc:spChg>
        <pc:spChg chg="mod">
          <ac:chgData name="Fatma Alsagaf" userId="ef587b5e-378a-4bb3-aa9f-3c15b98138a4" providerId="ADAL" clId="{C501D7D1-386F-4507-9267-B8938CF1C372}" dt="2023-10-17T17:29:19.911" v="1862" actId="403"/>
          <ac:spMkLst>
            <pc:docMk/>
            <pc:sldMk cId="2319275018" sldId="2147377174"/>
            <ac:spMk id="286" creationId="{961B4028-52E6-C6EA-09A5-F976DD8D2729}"/>
          </ac:spMkLst>
        </pc:spChg>
        <pc:spChg chg="mod">
          <ac:chgData name="Fatma Alsagaf" userId="ef587b5e-378a-4bb3-aa9f-3c15b98138a4" providerId="ADAL" clId="{C501D7D1-386F-4507-9267-B8938CF1C372}" dt="2023-10-17T17:29:19.911" v="1862" actId="403"/>
          <ac:spMkLst>
            <pc:docMk/>
            <pc:sldMk cId="2319275018" sldId="2147377174"/>
            <ac:spMk id="287" creationId="{176F8A9D-BA76-A682-0CCD-AEAEAB7830EF}"/>
          </ac:spMkLst>
        </pc:spChg>
        <pc:spChg chg="mod">
          <ac:chgData name="Fatma Alsagaf" userId="ef587b5e-378a-4bb3-aa9f-3c15b98138a4" providerId="ADAL" clId="{C501D7D1-386F-4507-9267-B8938CF1C372}" dt="2023-10-17T17:29:19.911" v="1862" actId="403"/>
          <ac:spMkLst>
            <pc:docMk/>
            <pc:sldMk cId="2319275018" sldId="2147377174"/>
            <ac:spMk id="288" creationId="{2B9E8F19-1A44-B208-8815-67424A9216F0}"/>
          </ac:spMkLst>
        </pc:spChg>
        <pc:spChg chg="mod">
          <ac:chgData name="Fatma Alsagaf" userId="ef587b5e-378a-4bb3-aa9f-3c15b98138a4" providerId="ADAL" clId="{C501D7D1-386F-4507-9267-B8938CF1C372}" dt="2023-10-17T17:32:35.127" v="1884" actId="404"/>
          <ac:spMkLst>
            <pc:docMk/>
            <pc:sldMk cId="2319275018" sldId="2147377174"/>
            <ac:spMk id="290" creationId="{06F3A11D-567D-1ED9-56D4-A4B5C19E4E78}"/>
          </ac:spMkLst>
        </pc:spChg>
        <pc:spChg chg="mod">
          <ac:chgData name="Fatma Alsagaf" userId="ef587b5e-378a-4bb3-aa9f-3c15b98138a4" providerId="ADAL" clId="{C501D7D1-386F-4507-9267-B8938CF1C372}" dt="2023-10-17T17:32:35.127" v="1884" actId="404"/>
          <ac:spMkLst>
            <pc:docMk/>
            <pc:sldMk cId="2319275018" sldId="2147377174"/>
            <ac:spMk id="292" creationId="{CDE2C70D-0154-AA51-6E5F-F8C678E87063}"/>
          </ac:spMkLst>
        </pc:spChg>
        <pc:spChg chg="mod">
          <ac:chgData name="Fatma Alsagaf" userId="ef587b5e-378a-4bb3-aa9f-3c15b98138a4" providerId="ADAL" clId="{C501D7D1-386F-4507-9267-B8938CF1C372}" dt="2023-10-17T17:32:35.127" v="1884" actId="404"/>
          <ac:spMkLst>
            <pc:docMk/>
            <pc:sldMk cId="2319275018" sldId="2147377174"/>
            <ac:spMk id="293" creationId="{E0F3B8EE-50BF-7650-47B8-CD3B723C257E}"/>
          </ac:spMkLst>
        </pc:spChg>
        <pc:spChg chg="mod">
          <ac:chgData name="Fatma Alsagaf" userId="ef587b5e-378a-4bb3-aa9f-3c15b98138a4" providerId="ADAL" clId="{C501D7D1-386F-4507-9267-B8938CF1C372}" dt="2023-10-17T17:32:35.127" v="1884" actId="404"/>
          <ac:spMkLst>
            <pc:docMk/>
            <pc:sldMk cId="2319275018" sldId="2147377174"/>
            <ac:spMk id="294" creationId="{10DD877F-D8A5-7205-E6E8-BA3F41F0B2DE}"/>
          </ac:spMkLst>
        </pc:spChg>
        <pc:spChg chg="mod">
          <ac:chgData name="Fatma Alsagaf" userId="ef587b5e-378a-4bb3-aa9f-3c15b98138a4" providerId="ADAL" clId="{C501D7D1-386F-4507-9267-B8938CF1C372}" dt="2023-10-17T17:16:06.642" v="1763" actId="404"/>
          <ac:spMkLst>
            <pc:docMk/>
            <pc:sldMk cId="2319275018" sldId="2147377174"/>
            <ac:spMk id="1024" creationId="{1CA53530-BE89-17AC-057E-FC957218558A}"/>
          </ac:spMkLst>
        </pc:spChg>
        <pc:spChg chg="mod">
          <ac:chgData name="Fatma Alsagaf" userId="ef587b5e-378a-4bb3-aa9f-3c15b98138a4" providerId="ADAL" clId="{C501D7D1-386F-4507-9267-B8938CF1C372}" dt="2023-10-17T17:16:06.642" v="1763" actId="404"/>
          <ac:spMkLst>
            <pc:docMk/>
            <pc:sldMk cId="2319275018" sldId="2147377174"/>
            <ac:spMk id="1025" creationId="{469E175A-9710-27D8-57A6-6AA78BFE74F6}"/>
          </ac:spMkLst>
        </pc:spChg>
        <pc:spChg chg="mod">
          <ac:chgData name="Fatma Alsagaf" userId="ef587b5e-378a-4bb3-aa9f-3c15b98138a4" providerId="ADAL" clId="{C501D7D1-386F-4507-9267-B8938CF1C372}" dt="2023-10-17T17:37:02.023" v="1949" actId="14100"/>
          <ac:spMkLst>
            <pc:docMk/>
            <pc:sldMk cId="2319275018" sldId="2147377174"/>
            <ac:spMk id="1049" creationId="{5AF41FEA-994B-53BC-62B5-5376B3CE9B5D}"/>
          </ac:spMkLst>
        </pc:spChg>
        <pc:spChg chg="del mod">
          <ac:chgData name="Fatma Alsagaf" userId="ef587b5e-378a-4bb3-aa9f-3c15b98138a4" providerId="ADAL" clId="{C501D7D1-386F-4507-9267-B8938CF1C372}" dt="2023-10-17T17:36:52.888" v="1947" actId="478"/>
          <ac:spMkLst>
            <pc:docMk/>
            <pc:sldMk cId="2319275018" sldId="2147377174"/>
            <ac:spMk id="1051" creationId="{A6244EAD-EA77-C62E-1A7F-F1172816BA50}"/>
          </ac:spMkLst>
        </pc:spChg>
        <pc:spChg chg="mod">
          <ac:chgData name="Fatma Alsagaf" userId="ef587b5e-378a-4bb3-aa9f-3c15b98138a4" providerId="ADAL" clId="{C501D7D1-386F-4507-9267-B8938CF1C372}" dt="2023-10-17T17:16:06.642" v="1763" actId="404"/>
          <ac:spMkLst>
            <pc:docMk/>
            <pc:sldMk cId="2319275018" sldId="2147377174"/>
            <ac:spMk id="1077" creationId="{D5722521-E517-65A5-74E4-4AB2C6752721}"/>
          </ac:spMkLst>
        </pc:spChg>
        <pc:spChg chg="mod">
          <ac:chgData name="Fatma Alsagaf" userId="ef587b5e-378a-4bb3-aa9f-3c15b98138a4" providerId="ADAL" clId="{C501D7D1-386F-4507-9267-B8938CF1C372}" dt="2023-10-17T17:32:30.414" v="1883" actId="404"/>
          <ac:spMkLst>
            <pc:docMk/>
            <pc:sldMk cId="2319275018" sldId="2147377174"/>
            <ac:spMk id="1080" creationId="{ECCFF116-6A3A-24EF-5007-462234069680}"/>
          </ac:spMkLst>
        </pc:spChg>
        <pc:spChg chg="mod">
          <ac:chgData name="Fatma Alsagaf" userId="ef587b5e-378a-4bb3-aa9f-3c15b98138a4" providerId="ADAL" clId="{C501D7D1-386F-4507-9267-B8938CF1C372}" dt="2023-10-17T17:32:30.414" v="1883" actId="404"/>
          <ac:spMkLst>
            <pc:docMk/>
            <pc:sldMk cId="2319275018" sldId="2147377174"/>
            <ac:spMk id="1082" creationId="{2587DA04-FFA5-AF7C-07AB-DBBB583C1D39}"/>
          </ac:spMkLst>
        </pc:spChg>
        <pc:spChg chg="mod">
          <ac:chgData name="Fatma Alsagaf" userId="ef587b5e-378a-4bb3-aa9f-3c15b98138a4" providerId="ADAL" clId="{C501D7D1-386F-4507-9267-B8938CF1C372}" dt="2023-10-17T17:32:30.414" v="1883" actId="404"/>
          <ac:spMkLst>
            <pc:docMk/>
            <pc:sldMk cId="2319275018" sldId="2147377174"/>
            <ac:spMk id="1083" creationId="{862F02DD-27E0-A459-E905-00F9662DD09C}"/>
          </ac:spMkLst>
        </pc:spChg>
        <pc:spChg chg="mod">
          <ac:chgData name="Fatma Alsagaf" userId="ef587b5e-378a-4bb3-aa9f-3c15b98138a4" providerId="ADAL" clId="{C501D7D1-386F-4507-9267-B8938CF1C372}" dt="2023-10-17T17:32:30.414" v="1883" actId="404"/>
          <ac:spMkLst>
            <pc:docMk/>
            <pc:sldMk cId="2319275018" sldId="2147377174"/>
            <ac:spMk id="1084" creationId="{CE4232B1-715F-8F90-23C2-9EEF71ACCBF6}"/>
          </ac:spMkLst>
        </pc:spChg>
        <pc:spChg chg="mod">
          <ac:chgData name="Fatma Alsagaf" userId="ef587b5e-378a-4bb3-aa9f-3c15b98138a4" providerId="ADAL" clId="{C501D7D1-386F-4507-9267-B8938CF1C372}" dt="2023-10-17T17:29:19.911" v="1862" actId="403"/>
          <ac:spMkLst>
            <pc:docMk/>
            <pc:sldMk cId="2319275018" sldId="2147377174"/>
            <ac:spMk id="1086" creationId="{28E9D031-894F-6C20-D478-54AEE7CD6E12}"/>
          </ac:spMkLst>
        </pc:spChg>
        <pc:spChg chg="mod">
          <ac:chgData name="Fatma Alsagaf" userId="ef587b5e-378a-4bb3-aa9f-3c15b98138a4" providerId="ADAL" clId="{C501D7D1-386F-4507-9267-B8938CF1C372}" dt="2023-10-17T16:26:44.845" v="1529" actId="1035"/>
          <ac:spMkLst>
            <pc:docMk/>
            <pc:sldMk cId="2319275018" sldId="2147377174"/>
            <ac:spMk id="1150" creationId="{69847944-AEF0-403D-37A8-F335E314E040}"/>
          </ac:spMkLst>
        </pc:spChg>
        <pc:spChg chg="del">
          <ac:chgData name="Fatma Alsagaf" userId="ef587b5e-378a-4bb3-aa9f-3c15b98138a4" providerId="ADAL" clId="{C501D7D1-386F-4507-9267-B8938CF1C372}" dt="2023-10-17T16:26:02.958" v="1515" actId="478"/>
          <ac:spMkLst>
            <pc:docMk/>
            <pc:sldMk cId="2319275018" sldId="2147377174"/>
            <ac:spMk id="1371" creationId="{EB9708C1-7240-7000-E969-FBD150EB3D7D}"/>
          </ac:spMkLst>
        </pc:spChg>
        <pc:grpChg chg="del mod">
          <ac:chgData name="Fatma Alsagaf" userId="ef587b5e-378a-4bb3-aa9f-3c15b98138a4" providerId="ADAL" clId="{C501D7D1-386F-4507-9267-B8938CF1C372}" dt="2023-10-17T17:12:57.253" v="1671" actId="478"/>
          <ac:grpSpMkLst>
            <pc:docMk/>
            <pc:sldMk cId="2319275018" sldId="2147377174"/>
            <ac:grpSpMk id="51" creationId="{6AE65ECE-A068-630D-8AAF-A12D5CC310BF}"/>
          </ac:grpSpMkLst>
        </pc:grpChg>
        <pc:grpChg chg="del mod">
          <ac:chgData name="Fatma Alsagaf" userId="ef587b5e-378a-4bb3-aa9f-3c15b98138a4" providerId="ADAL" clId="{C501D7D1-386F-4507-9267-B8938CF1C372}" dt="2023-10-17T17:13:00.432" v="1672" actId="478"/>
          <ac:grpSpMkLst>
            <pc:docMk/>
            <pc:sldMk cId="2319275018" sldId="2147377174"/>
            <ac:grpSpMk id="61" creationId="{EDDC15F9-AF60-C450-A514-6A46E3ACD841}"/>
          </ac:grpSpMkLst>
        </pc:grpChg>
        <pc:grpChg chg="mod">
          <ac:chgData name="Fatma Alsagaf" userId="ef587b5e-378a-4bb3-aa9f-3c15b98138a4" providerId="ADAL" clId="{C501D7D1-386F-4507-9267-B8938CF1C372}" dt="2023-10-17T17:00:52.952" v="1588" actId="1035"/>
          <ac:grpSpMkLst>
            <pc:docMk/>
            <pc:sldMk cId="2319275018" sldId="2147377174"/>
            <ac:grpSpMk id="138" creationId="{3305E62E-F60E-03A3-707B-077F08CF5F0D}"/>
          </ac:grpSpMkLst>
        </pc:grpChg>
        <pc:grpChg chg="mod">
          <ac:chgData name="Fatma Alsagaf" userId="ef587b5e-378a-4bb3-aa9f-3c15b98138a4" providerId="ADAL" clId="{C501D7D1-386F-4507-9267-B8938CF1C372}" dt="2023-10-17T17:00:52.952" v="1588" actId="1035"/>
          <ac:grpSpMkLst>
            <pc:docMk/>
            <pc:sldMk cId="2319275018" sldId="2147377174"/>
            <ac:grpSpMk id="141" creationId="{CE8DD62E-4A52-98F4-9800-03F68D8CB147}"/>
          </ac:grpSpMkLst>
        </pc:grpChg>
        <pc:grpChg chg="mod">
          <ac:chgData name="Fatma Alsagaf" userId="ef587b5e-378a-4bb3-aa9f-3c15b98138a4" providerId="ADAL" clId="{C501D7D1-386F-4507-9267-B8938CF1C372}" dt="2023-10-17T17:00:52.952" v="1588" actId="1035"/>
          <ac:grpSpMkLst>
            <pc:docMk/>
            <pc:sldMk cId="2319275018" sldId="2147377174"/>
            <ac:grpSpMk id="144" creationId="{6400AD6C-64DF-A707-E503-FB83921AA7BB}"/>
          </ac:grpSpMkLst>
        </pc:grpChg>
        <pc:grpChg chg="del mod">
          <ac:chgData name="Fatma Alsagaf" userId="ef587b5e-378a-4bb3-aa9f-3c15b98138a4" providerId="ADAL" clId="{C501D7D1-386F-4507-9267-B8938CF1C372}" dt="2023-10-17T17:15:52.531" v="1761" actId="478"/>
          <ac:grpSpMkLst>
            <pc:docMk/>
            <pc:sldMk cId="2319275018" sldId="2147377174"/>
            <ac:grpSpMk id="165" creationId="{7E99AF43-DFB4-97D5-73B0-FBECA7DC882E}"/>
          </ac:grpSpMkLst>
        </pc:grpChg>
        <pc:grpChg chg="mod">
          <ac:chgData name="Fatma Alsagaf" userId="ef587b5e-378a-4bb3-aa9f-3c15b98138a4" providerId="ADAL" clId="{C501D7D1-386F-4507-9267-B8938CF1C372}" dt="2023-10-17T17:12:00.434" v="1659" actId="1036"/>
          <ac:grpSpMkLst>
            <pc:docMk/>
            <pc:sldMk cId="2319275018" sldId="2147377174"/>
            <ac:grpSpMk id="171" creationId="{DF4A263E-F69A-21AA-AEF5-5A840BA47796}"/>
          </ac:grpSpMkLst>
        </pc:grpChg>
        <pc:grpChg chg="mod">
          <ac:chgData name="Fatma Alsagaf" userId="ef587b5e-378a-4bb3-aa9f-3c15b98138a4" providerId="ADAL" clId="{C501D7D1-386F-4507-9267-B8938CF1C372}" dt="2023-10-17T17:33:01.860" v="1888" actId="1076"/>
          <ac:grpSpMkLst>
            <pc:docMk/>
            <pc:sldMk cId="2319275018" sldId="2147377174"/>
            <ac:grpSpMk id="289" creationId="{F9684A38-1F7B-5BFF-CB37-8670EEE19FE2}"/>
          </ac:grpSpMkLst>
        </pc:grpChg>
        <pc:grpChg chg="mod">
          <ac:chgData name="Fatma Alsagaf" userId="ef587b5e-378a-4bb3-aa9f-3c15b98138a4" providerId="ADAL" clId="{C501D7D1-386F-4507-9267-B8938CF1C372}" dt="2023-10-17T17:12:00.434" v="1659" actId="1036"/>
          <ac:grpSpMkLst>
            <pc:docMk/>
            <pc:sldMk cId="2319275018" sldId="2147377174"/>
            <ac:grpSpMk id="291" creationId="{10F58891-44B8-0422-664E-06E05BEA024F}"/>
          </ac:grpSpMkLst>
        </pc:grpChg>
        <pc:grpChg chg="mod">
          <ac:chgData name="Fatma Alsagaf" userId="ef587b5e-378a-4bb3-aa9f-3c15b98138a4" providerId="ADAL" clId="{C501D7D1-386F-4507-9267-B8938CF1C372}" dt="2023-10-17T17:30:49.403" v="1876" actId="14100"/>
          <ac:grpSpMkLst>
            <pc:docMk/>
            <pc:sldMk cId="2319275018" sldId="2147377174"/>
            <ac:grpSpMk id="1078" creationId="{E6BF0120-3B25-2BBC-842F-29DB0AD92947}"/>
          </ac:grpSpMkLst>
        </pc:grpChg>
        <pc:grpChg chg="mod">
          <ac:chgData name="Fatma Alsagaf" userId="ef587b5e-378a-4bb3-aa9f-3c15b98138a4" providerId="ADAL" clId="{C501D7D1-386F-4507-9267-B8938CF1C372}" dt="2023-10-17T17:32:10.877" v="1879" actId="14100"/>
          <ac:grpSpMkLst>
            <pc:docMk/>
            <pc:sldMk cId="2319275018" sldId="2147377174"/>
            <ac:grpSpMk id="1079" creationId="{5F191435-9A4B-4986-357B-D22E5A72F124}"/>
          </ac:grpSpMkLst>
        </pc:grpChg>
        <pc:grpChg chg="mod">
          <ac:chgData name="Fatma Alsagaf" userId="ef587b5e-378a-4bb3-aa9f-3c15b98138a4" providerId="ADAL" clId="{C501D7D1-386F-4507-9267-B8938CF1C372}" dt="2023-10-17T17:12:00.434" v="1659" actId="1036"/>
          <ac:grpSpMkLst>
            <pc:docMk/>
            <pc:sldMk cId="2319275018" sldId="2147377174"/>
            <ac:grpSpMk id="1081" creationId="{0BF3DFA0-C105-F965-A8DE-A60056B1197B}"/>
          </ac:grpSpMkLst>
        </pc:grpChg>
        <pc:grpChg chg="mod">
          <ac:chgData name="Fatma Alsagaf" userId="ef587b5e-378a-4bb3-aa9f-3c15b98138a4" providerId="ADAL" clId="{C501D7D1-386F-4507-9267-B8938CF1C372}" dt="2023-10-17T17:32:50.512" v="1885" actId="1076"/>
          <ac:grpSpMkLst>
            <pc:docMk/>
            <pc:sldMk cId="2319275018" sldId="2147377174"/>
            <ac:grpSpMk id="1085" creationId="{0EB81ADC-7760-E953-4403-16519C98859B}"/>
          </ac:grpSpMkLst>
        </pc:grpChg>
        <pc:grpChg chg="mod">
          <ac:chgData name="Fatma Alsagaf" userId="ef587b5e-378a-4bb3-aa9f-3c15b98138a4" providerId="ADAL" clId="{C501D7D1-386F-4507-9267-B8938CF1C372}" dt="2023-10-17T17:12:00.434" v="1659" actId="1036"/>
          <ac:grpSpMkLst>
            <pc:docMk/>
            <pc:sldMk cId="2319275018" sldId="2147377174"/>
            <ac:grpSpMk id="1087" creationId="{EB2DA26B-1C8C-72DD-F3D1-1F13B0AD8CDB}"/>
          </ac:grpSpMkLst>
        </pc:grpChg>
        <pc:graphicFrameChg chg="add mod modGraphic">
          <ac:chgData name="Fatma Alsagaf" userId="ef587b5e-378a-4bb3-aa9f-3c15b98138a4" providerId="ADAL" clId="{C501D7D1-386F-4507-9267-B8938CF1C372}" dt="2023-10-17T17:55:09.075" v="2008" actId="403"/>
          <ac:graphicFrameMkLst>
            <pc:docMk/>
            <pc:sldMk cId="2319275018" sldId="2147377174"/>
            <ac:graphicFrameMk id="2" creationId="{6DA3A7C6-5C00-4EDE-5FDA-4783A1A23FBD}"/>
          </ac:graphicFrameMkLst>
        </pc:graphicFrameChg>
        <pc:graphicFrameChg chg="mod">
          <ac:chgData name="Fatma Alsagaf" userId="ef587b5e-378a-4bb3-aa9f-3c15b98138a4" providerId="ADAL" clId="{C501D7D1-386F-4507-9267-B8938CF1C372}" dt="2023-10-17T17:00:46.109" v="1578" actId="14100"/>
          <ac:graphicFrameMkLst>
            <pc:docMk/>
            <pc:sldMk cId="2319275018" sldId="2147377174"/>
            <ac:graphicFrameMk id="136" creationId="{7D31A3FE-1EBF-755C-BA47-51226B4931B9}"/>
          </ac:graphicFrameMkLst>
        </pc:graphicFrameChg>
        <pc:picChg chg="mod">
          <ac:chgData name="Fatma Alsagaf" userId="ef587b5e-378a-4bb3-aa9f-3c15b98138a4" providerId="ADAL" clId="{C501D7D1-386F-4507-9267-B8938CF1C372}" dt="2023-10-17T17:28:12.969" v="1842" actId="1035"/>
          <ac:picMkLst>
            <pc:docMk/>
            <pc:sldMk cId="2319275018" sldId="2147377174"/>
            <ac:picMk id="1032" creationId="{EB629250-D17D-0DA9-142D-2D8E6C9A0A4F}"/>
          </ac:picMkLst>
        </pc:picChg>
        <pc:cxnChg chg="add mod">
          <ac:chgData name="Fatma Alsagaf" userId="ef587b5e-378a-4bb3-aa9f-3c15b98138a4" providerId="ADAL" clId="{C501D7D1-386F-4507-9267-B8938CF1C372}" dt="2023-10-17T17:33:35.406" v="1892" actId="1076"/>
          <ac:cxnSpMkLst>
            <pc:docMk/>
            <pc:sldMk cId="2319275018" sldId="2147377174"/>
            <ac:cxnSpMk id="4" creationId="{885E507A-2249-0ED8-17D6-9DDCDF8B5644}"/>
          </ac:cxnSpMkLst>
        </pc:cxnChg>
        <pc:cxnChg chg="add del mod">
          <ac:chgData name="Fatma Alsagaf" userId="ef587b5e-378a-4bb3-aa9f-3c15b98138a4" providerId="ADAL" clId="{C501D7D1-386F-4507-9267-B8938CF1C372}" dt="2023-10-17T17:54:40.468" v="1994" actId="1036"/>
          <ac:cxnSpMkLst>
            <pc:docMk/>
            <pc:sldMk cId="2319275018" sldId="2147377174"/>
            <ac:cxnSpMk id="34" creationId="{71C136B1-E963-526B-D3B9-8E11C4D011DF}"/>
          </ac:cxnSpMkLst>
        </pc:cxnChg>
        <pc:cxnChg chg="mod">
          <ac:chgData name="Fatma Alsagaf" userId="ef587b5e-378a-4bb3-aa9f-3c15b98138a4" providerId="ADAL" clId="{C501D7D1-386F-4507-9267-B8938CF1C372}" dt="2023-10-17T16:26:44.845" v="1529" actId="1035"/>
          <ac:cxnSpMkLst>
            <pc:docMk/>
            <pc:sldMk cId="2319275018" sldId="2147377174"/>
            <ac:cxnSpMk id="37" creationId="{4D8BFAAF-3991-9700-CC4A-FB1A9CA43FA0}"/>
          </ac:cxnSpMkLst>
        </pc:cxnChg>
        <pc:cxnChg chg="mod">
          <ac:chgData name="Fatma Alsagaf" userId="ef587b5e-378a-4bb3-aa9f-3c15b98138a4" providerId="ADAL" clId="{C501D7D1-386F-4507-9267-B8938CF1C372}" dt="2023-10-17T17:54:31.134" v="1989" actId="1036"/>
          <ac:cxnSpMkLst>
            <pc:docMk/>
            <pc:sldMk cId="2319275018" sldId="2147377174"/>
            <ac:cxnSpMk id="60" creationId="{F623156C-4545-0C68-76E6-F56A603B3D62}"/>
          </ac:cxnSpMkLst>
        </pc:cxnChg>
        <pc:cxnChg chg="mod">
          <ac:chgData name="Fatma Alsagaf" userId="ef587b5e-378a-4bb3-aa9f-3c15b98138a4" providerId="ADAL" clId="{C501D7D1-386F-4507-9267-B8938CF1C372}" dt="2023-10-17T16:26:44.845" v="1529" actId="1035"/>
          <ac:cxnSpMkLst>
            <pc:docMk/>
            <pc:sldMk cId="2319275018" sldId="2147377174"/>
            <ac:cxnSpMk id="160" creationId="{65DE2AEB-7804-110E-BE52-CA38EF54EEEA}"/>
          </ac:cxnSpMkLst>
        </pc:cxnChg>
        <pc:cxnChg chg="mod">
          <ac:chgData name="Fatma Alsagaf" userId="ef587b5e-378a-4bb3-aa9f-3c15b98138a4" providerId="ADAL" clId="{C501D7D1-386F-4507-9267-B8938CF1C372}" dt="2023-10-17T17:02:08.877" v="1601" actId="1076"/>
          <ac:cxnSpMkLst>
            <pc:docMk/>
            <pc:sldMk cId="2319275018" sldId="2147377174"/>
            <ac:cxnSpMk id="1050" creationId="{AB3C60D0-FF39-33F9-D352-65AB6E3EC2EE}"/>
          </ac:cxnSpMkLst>
        </pc:cxnChg>
        <pc:cxnChg chg="del">
          <ac:chgData name="Fatma Alsagaf" userId="ef587b5e-378a-4bb3-aa9f-3c15b98138a4" providerId="ADAL" clId="{C501D7D1-386F-4507-9267-B8938CF1C372}" dt="2023-10-17T16:26:05.653" v="1516" actId="478"/>
          <ac:cxnSpMkLst>
            <pc:docMk/>
            <pc:sldMk cId="2319275018" sldId="2147377174"/>
            <ac:cxnSpMk id="1052" creationId="{93C9439D-5722-2B4E-398C-2535AFF58F0E}"/>
          </ac:cxnSpMkLst>
        </pc:cxnChg>
        <pc:cxnChg chg="mod">
          <ac:chgData name="Fatma Alsagaf" userId="ef587b5e-378a-4bb3-aa9f-3c15b98138a4" providerId="ADAL" clId="{C501D7D1-386F-4507-9267-B8938CF1C372}" dt="2023-10-17T16:26:44.845" v="1529" actId="1035"/>
          <ac:cxnSpMkLst>
            <pc:docMk/>
            <pc:sldMk cId="2319275018" sldId="2147377174"/>
            <ac:cxnSpMk id="1151" creationId="{7E7AD527-1951-8BFD-0CDC-38CC898364A3}"/>
          </ac:cxnSpMkLst>
        </pc:cxnChg>
      </pc:sldChg>
      <pc:sldChg chg="modSp add mod">
        <pc:chgData name="Fatma Alsagaf" userId="ef587b5e-378a-4bb3-aa9f-3c15b98138a4" providerId="ADAL" clId="{C501D7D1-386F-4507-9267-B8938CF1C372}" dt="2023-10-17T17:56:36.038" v="2066" actId="20577"/>
        <pc:sldMkLst>
          <pc:docMk/>
          <pc:sldMk cId="1873415763" sldId="2147377175"/>
        </pc:sldMkLst>
        <pc:spChg chg="mod">
          <ac:chgData name="Fatma Alsagaf" userId="ef587b5e-378a-4bb3-aa9f-3c15b98138a4" providerId="ADAL" clId="{C501D7D1-386F-4507-9267-B8938CF1C372}" dt="2023-10-17T17:56:36.038" v="2066" actId="20577"/>
          <ac:spMkLst>
            <pc:docMk/>
            <pc:sldMk cId="1873415763" sldId="2147377175"/>
            <ac:spMk id="4" creationId="{75DC1F15-F86A-8A30-2343-4D3CCAD0AEC3}"/>
          </ac:spMkLst>
        </pc:spChg>
      </pc:sldChg>
      <pc:sldChg chg="add">
        <pc:chgData name="Fatma Alsagaf" userId="ef587b5e-378a-4bb3-aa9f-3c15b98138a4" providerId="ADAL" clId="{C501D7D1-386F-4507-9267-B8938CF1C372}" dt="2023-10-17T20:42:10.175" v="2087"/>
        <pc:sldMkLst>
          <pc:docMk/>
          <pc:sldMk cId="2968051913" sldId="2147377176"/>
        </pc:sldMkLst>
      </pc:sldChg>
    </pc:docChg>
  </pc:docChgLst>
  <pc:docChgLst>
    <pc:chgData name="Fatma Alsagaf" userId="ef587b5e-378a-4bb3-aa9f-3c15b98138a4" providerId="ADAL" clId="{EA3EF6B8-8642-4B5F-8380-9CD710A0C079}"/>
    <pc:docChg chg="undo redo custSel addSld delSld modSld sldOrd">
      <pc:chgData name="Fatma Alsagaf" userId="ef587b5e-378a-4bb3-aa9f-3c15b98138a4" providerId="ADAL" clId="{EA3EF6B8-8642-4B5F-8380-9CD710A0C079}" dt="2023-08-15T11:44:18.630" v="2618" actId="1076"/>
      <pc:docMkLst>
        <pc:docMk/>
      </pc:docMkLst>
      <pc:sldChg chg="addSp modSp">
        <pc:chgData name="Fatma Alsagaf" userId="ef587b5e-378a-4bb3-aa9f-3c15b98138a4" providerId="ADAL" clId="{EA3EF6B8-8642-4B5F-8380-9CD710A0C079}" dt="2023-08-15T09:50:20.177" v="2082" actId="164"/>
        <pc:sldMkLst>
          <pc:docMk/>
          <pc:sldMk cId="1684838535" sldId="2147377168"/>
        </pc:sldMkLst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3" creationId="{485626CD-E249-FB16-6E7A-3C0C25C86F16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4" creationId="{EBE5D750-BD80-1B8D-FA3C-816DC0D206DB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51" creationId="{DD41BBD6-9109-0458-1D07-14C9C420B4E4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52" creationId="{26A73329-FE0F-1E45-156A-250D1F58AC74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53" creationId="{AE232E8D-120F-5580-9CBC-D988DD8761D0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54" creationId="{B1B81D04-3140-B5EC-FD43-7C07B285AD71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55" creationId="{E65FCBF7-CF2A-1BA3-F78A-55EE191AD407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56" creationId="{FF14FE24-7D82-3807-1133-6DECC4C42F21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57" creationId="{7F596D1C-1E3D-6F3C-5F6A-0DB86C4A8012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58" creationId="{6D8C0FAE-B83E-E0DF-AB91-4F30410704EE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59" creationId="{38B9B589-1167-7C0B-0F97-515EB6F383E0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60" creationId="{6D39F8F1-5F71-61A1-CC5A-1BBEAA939BD2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77" creationId="{43D2DC75-8A38-E253-1D3C-CACF8BDCB6E9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78" creationId="{FA0E86CC-AB2E-38E3-6FB7-63FC86C28A7C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79" creationId="{48C19F2F-8E6C-3336-E51F-DDEF15984BE4}"/>
          </ac:spMkLst>
        </pc:spChg>
        <pc:spChg chg="mod">
          <ac:chgData name="Fatma Alsagaf" userId="ef587b5e-378a-4bb3-aa9f-3c15b98138a4" providerId="ADAL" clId="{EA3EF6B8-8642-4B5F-8380-9CD710A0C079}" dt="2023-08-15T09:50:20.177" v="2082" actId="164"/>
          <ac:spMkLst>
            <pc:docMk/>
            <pc:sldMk cId="1684838535" sldId="2147377168"/>
            <ac:spMk id="1080" creationId="{602442AC-1FF1-747B-5730-2032AB17D2E6}"/>
          </ac:spMkLst>
        </pc:spChg>
        <pc:grpChg chg="add mod">
          <ac:chgData name="Fatma Alsagaf" userId="ef587b5e-378a-4bb3-aa9f-3c15b98138a4" providerId="ADAL" clId="{EA3EF6B8-8642-4B5F-8380-9CD710A0C079}" dt="2023-08-15T09:50:20.177" v="2082" actId="164"/>
          <ac:grpSpMkLst>
            <pc:docMk/>
            <pc:sldMk cId="1684838535" sldId="2147377168"/>
            <ac:grpSpMk id="5" creationId="{1230183F-2828-55F1-5032-669951609800}"/>
          </ac:grpSpMkLst>
        </pc:grpChg>
        <pc:grpChg chg="mod">
          <ac:chgData name="Fatma Alsagaf" userId="ef587b5e-378a-4bb3-aa9f-3c15b98138a4" providerId="ADAL" clId="{EA3EF6B8-8642-4B5F-8380-9CD710A0C079}" dt="2023-08-15T09:50:20.177" v="2082" actId="164"/>
          <ac:grpSpMkLst>
            <pc:docMk/>
            <pc:sldMk cId="1684838535" sldId="2147377168"/>
            <ac:grpSpMk id="86" creationId="{C80E072A-8B60-3B12-4760-71B8E2E8E92E}"/>
          </ac:grpSpMkLst>
        </pc:grpChg>
        <pc:picChg chg="mod">
          <ac:chgData name="Fatma Alsagaf" userId="ef587b5e-378a-4bb3-aa9f-3c15b98138a4" providerId="ADAL" clId="{EA3EF6B8-8642-4B5F-8380-9CD710A0C079}" dt="2023-08-15T05:01:59.988" v="801" actId="1076"/>
          <ac:picMkLst>
            <pc:docMk/>
            <pc:sldMk cId="1684838535" sldId="2147377168"/>
            <ac:picMk id="1030" creationId="{FD434694-9BFA-5746-BCF0-456DEFDFB7CF}"/>
          </ac:picMkLst>
        </pc:picChg>
      </pc:sldChg>
      <pc:sldChg chg="addSp delSp modSp mod">
        <pc:chgData name="Fatma Alsagaf" userId="ef587b5e-378a-4bb3-aa9f-3c15b98138a4" providerId="ADAL" clId="{EA3EF6B8-8642-4B5F-8380-9CD710A0C079}" dt="2023-08-15T11:40:04.104" v="2578" actId="1076"/>
        <pc:sldMkLst>
          <pc:docMk/>
          <pc:sldMk cId="3312873017" sldId="2147377170"/>
        </pc:sldMkLst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5" creationId="{485D9D1E-FA84-E61B-5405-99EE11095A8A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6" creationId="{41A43658-0729-CEE9-491A-5DB5FDFDEBCD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7" creationId="{B572D860-9254-8022-49F0-6C278131E0F9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9" creationId="{AE7DB2CD-CD20-CE91-0432-119E60C13A06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10" creationId="{50DD49DD-16AC-6E17-1331-E037FD6CB486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11" creationId="{226647C6-3065-D66C-B0FE-28D10785DB8D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13" creationId="{7960EE72-AE91-5DCA-F191-E3EC44D70227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14" creationId="{505BF6CD-16CD-C11C-2116-E7C4B2E8F3CC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17" creationId="{7514F9BB-1A6F-08E4-1EB5-3EEB7FFD717B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18" creationId="{C490E8B1-1954-1D0B-B7E0-C67C7724CE4E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19" creationId="{6C311B20-141B-96CE-F2F9-E3AFAFBFB736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20" creationId="{21DF1A03-65D8-C1C2-2CA4-A8CB8CCB1A5A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21" creationId="{D843C477-E501-572F-15D9-708FA28F048F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22" creationId="{2ECED096-3FFE-B2B1-B738-82B8D4B437EB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23" creationId="{241354BB-2820-DEE6-79CB-4B0A6E85A9D8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24" creationId="{0DB70D7D-90B1-B2B9-B88D-A8A481ACE52F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25" creationId="{9BA6F908-E1CA-AB29-171C-B73C749F8BFF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26" creationId="{2052BFCE-10DE-E108-CFFD-CF63B913F96A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27" creationId="{CA4C7473-FB78-CED4-C6D8-AB79526DA843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28" creationId="{36379735-EE63-75E8-97CA-32D839CAA9FA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30" creationId="{F96EC835-F515-3AAD-E4C9-6E9F52603F7C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31" creationId="{8CA78440-8879-8A26-666A-6F0740AC2AD0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33" creationId="{1874EA60-4AC0-AE08-FD32-1E9F316106BE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34" creationId="{3571D071-0D75-14B3-0A6F-D0E9CAABFF71}"/>
          </ac:spMkLst>
        </pc:spChg>
        <pc:spChg chg="mod">
          <ac:chgData name="Fatma Alsagaf" userId="ef587b5e-378a-4bb3-aa9f-3c15b98138a4" providerId="ADAL" clId="{EA3EF6B8-8642-4B5F-8380-9CD710A0C079}" dt="2023-08-15T11:08:27.429" v="2480"/>
          <ac:spMkLst>
            <pc:docMk/>
            <pc:sldMk cId="3312873017" sldId="2147377170"/>
            <ac:spMk id="35" creationId="{E4A5BDAB-D99F-A52D-5B3A-5ECD914E77BF}"/>
          </ac:spMkLst>
        </pc:spChg>
        <pc:grpChg chg="add del mod">
          <ac:chgData name="Fatma Alsagaf" userId="ef587b5e-378a-4bb3-aa9f-3c15b98138a4" providerId="ADAL" clId="{EA3EF6B8-8642-4B5F-8380-9CD710A0C079}" dt="2023-08-15T11:08:41.133" v="2483"/>
          <ac:grpSpMkLst>
            <pc:docMk/>
            <pc:sldMk cId="3312873017" sldId="2147377170"/>
            <ac:grpSpMk id="2" creationId="{2FEE44F6-AA6F-4CCA-5BD4-957A2362298F}"/>
          </ac:grpSpMkLst>
        </pc:grpChg>
        <pc:grpChg chg="mod">
          <ac:chgData name="Fatma Alsagaf" userId="ef587b5e-378a-4bb3-aa9f-3c15b98138a4" providerId="ADAL" clId="{EA3EF6B8-8642-4B5F-8380-9CD710A0C079}" dt="2023-08-15T11:08:27.429" v="2480"/>
          <ac:grpSpMkLst>
            <pc:docMk/>
            <pc:sldMk cId="3312873017" sldId="2147377170"/>
            <ac:grpSpMk id="4" creationId="{D98851EB-C6F2-8E06-3947-CB31E2461754}"/>
          </ac:grpSpMkLst>
        </pc:grpChg>
        <pc:picChg chg="mod">
          <ac:chgData name="Fatma Alsagaf" userId="ef587b5e-378a-4bb3-aa9f-3c15b98138a4" providerId="ADAL" clId="{EA3EF6B8-8642-4B5F-8380-9CD710A0C079}" dt="2023-08-15T11:08:27.429" v="2480"/>
          <ac:picMkLst>
            <pc:docMk/>
            <pc:sldMk cId="3312873017" sldId="2147377170"/>
            <ac:picMk id="12" creationId="{AACBE849-97FE-F447-D2E8-2F360F61F358}"/>
          </ac:picMkLst>
        </pc:picChg>
        <pc:picChg chg="add del mod">
          <ac:chgData name="Fatma Alsagaf" userId="ef587b5e-378a-4bb3-aa9f-3c15b98138a4" providerId="ADAL" clId="{EA3EF6B8-8642-4B5F-8380-9CD710A0C079}" dt="2023-08-15T11:39:26.430" v="2573" actId="478"/>
          <ac:picMkLst>
            <pc:docMk/>
            <pc:sldMk cId="3312873017" sldId="2147377170"/>
            <ac:picMk id="1026" creationId="{957B3BC0-3243-E911-55AA-14E7F34AF38B}"/>
          </ac:picMkLst>
        </pc:picChg>
        <pc:picChg chg="add del mod">
          <ac:chgData name="Fatma Alsagaf" userId="ef587b5e-378a-4bb3-aa9f-3c15b98138a4" providerId="ADAL" clId="{EA3EF6B8-8642-4B5F-8380-9CD710A0C079}" dt="2023-08-15T11:23:03.543" v="2560" actId="478"/>
          <ac:picMkLst>
            <pc:docMk/>
            <pc:sldMk cId="3312873017" sldId="2147377170"/>
            <ac:picMk id="1028" creationId="{6EB5110F-0A73-2060-EB76-CB01357DE06C}"/>
          </ac:picMkLst>
        </pc:picChg>
        <pc:picChg chg="add del mod">
          <ac:chgData name="Fatma Alsagaf" userId="ef587b5e-378a-4bb3-aa9f-3c15b98138a4" providerId="ADAL" clId="{EA3EF6B8-8642-4B5F-8380-9CD710A0C079}" dt="2023-08-15T11:21:22.901" v="2529"/>
          <ac:picMkLst>
            <pc:docMk/>
            <pc:sldMk cId="3312873017" sldId="2147377170"/>
            <ac:picMk id="1030" creationId="{E8DDE0A0-FC53-F031-69E0-5779EB6DDA96}"/>
          </ac:picMkLst>
        </pc:picChg>
        <pc:picChg chg="add mod">
          <ac:chgData name="Fatma Alsagaf" userId="ef587b5e-378a-4bb3-aa9f-3c15b98138a4" providerId="ADAL" clId="{EA3EF6B8-8642-4B5F-8380-9CD710A0C079}" dt="2023-08-15T11:40:04.104" v="2578" actId="1076"/>
          <ac:picMkLst>
            <pc:docMk/>
            <pc:sldMk cId="3312873017" sldId="2147377170"/>
            <ac:picMk id="1032" creationId="{291632BE-5E1D-9E92-CB2D-EF59CE1FF95B}"/>
          </ac:picMkLst>
        </pc:picChg>
        <pc:picChg chg="add mod">
          <ac:chgData name="Fatma Alsagaf" userId="ef587b5e-378a-4bb3-aa9f-3c15b98138a4" providerId="ADAL" clId="{EA3EF6B8-8642-4B5F-8380-9CD710A0C079}" dt="2023-08-15T11:39:31.014" v="2574" actId="14100"/>
          <ac:picMkLst>
            <pc:docMk/>
            <pc:sldMk cId="3312873017" sldId="2147377170"/>
            <ac:picMk id="1034" creationId="{BBB29E8F-CD7C-CD6C-5091-3546AC8DA9C3}"/>
          </ac:picMkLst>
        </pc:picChg>
        <pc:picChg chg="add mod">
          <ac:chgData name="Fatma Alsagaf" userId="ef587b5e-378a-4bb3-aa9f-3c15b98138a4" providerId="ADAL" clId="{EA3EF6B8-8642-4B5F-8380-9CD710A0C079}" dt="2023-08-15T11:39:55.142" v="2576" actId="1076"/>
          <ac:picMkLst>
            <pc:docMk/>
            <pc:sldMk cId="3312873017" sldId="2147377170"/>
            <ac:picMk id="1036" creationId="{2CB534CD-281B-3C95-5234-F30A4140B631}"/>
          </ac:picMkLst>
        </pc:picChg>
        <pc:picChg chg="add del mod">
          <ac:chgData name="Fatma Alsagaf" userId="ef587b5e-378a-4bb3-aa9f-3c15b98138a4" providerId="ADAL" clId="{EA3EF6B8-8642-4B5F-8380-9CD710A0C079}" dt="2023-08-15T11:31:42.503" v="2572" actId="478"/>
          <ac:picMkLst>
            <pc:docMk/>
            <pc:sldMk cId="3312873017" sldId="2147377170"/>
            <ac:picMk id="1038" creationId="{20550A6C-5365-307A-21B7-BFF3B01A87CF}"/>
          </ac:picMkLst>
        </pc:picChg>
        <pc:picChg chg="add del mod">
          <ac:chgData name="Fatma Alsagaf" userId="ef587b5e-378a-4bb3-aa9f-3c15b98138a4" providerId="ADAL" clId="{EA3EF6B8-8642-4B5F-8380-9CD710A0C079}" dt="2023-08-15T11:30:53.452" v="2567" actId="478"/>
          <ac:picMkLst>
            <pc:docMk/>
            <pc:sldMk cId="3312873017" sldId="2147377170"/>
            <ac:picMk id="1040" creationId="{B18571E0-5A93-4D09-6806-EBE805654CE9}"/>
          </ac:picMkLst>
        </pc:picChg>
        <pc:picChg chg="add del mod">
          <ac:chgData name="Fatma Alsagaf" userId="ef587b5e-378a-4bb3-aa9f-3c15b98138a4" providerId="ADAL" clId="{EA3EF6B8-8642-4B5F-8380-9CD710A0C079}" dt="2023-08-15T11:31:40.165" v="2571" actId="478"/>
          <ac:picMkLst>
            <pc:docMk/>
            <pc:sldMk cId="3312873017" sldId="2147377170"/>
            <ac:picMk id="1042" creationId="{B771F570-AA16-B0B0-66AC-82EE7DDD3F3B}"/>
          </ac:picMkLst>
        </pc:picChg>
      </pc:sldChg>
      <pc:sldChg chg="addSp delSp modSp add mod ord">
        <pc:chgData name="Fatma Alsagaf" userId="ef587b5e-378a-4bb3-aa9f-3c15b98138a4" providerId="ADAL" clId="{EA3EF6B8-8642-4B5F-8380-9CD710A0C079}" dt="2023-08-15T11:44:18.630" v="2618" actId="1076"/>
        <pc:sldMkLst>
          <pc:docMk/>
          <pc:sldMk cId="2463444985" sldId="2147377175"/>
        </pc:sldMkLst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3" creationId="{485626CD-E249-FB16-6E7A-3C0C25C86F16}"/>
          </ac:spMkLst>
        </pc:spChg>
        <pc:spChg chg="mod">
          <ac:chgData name="Fatma Alsagaf" userId="ef587b5e-378a-4bb3-aa9f-3c15b98138a4" providerId="ADAL" clId="{EA3EF6B8-8642-4B5F-8380-9CD710A0C079}" dt="2023-08-15T09:46:42.293" v="2020"/>
          <ac:spMkLst>
            <pc:docMk/>
            <pc:sldMk cId="2463444985" sldId="2147377175"/>
            <ac:spMk id="4" creationId="{81CA41C6-FBC0-5E22-24A5-06A84C2B9A2B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4" creationId="{EBE5D750-BD80-1B8D-FA3C-816DC0D206DB}"/>
          </ac:spMkLst>
        </pc:spChg>
        <pc:spChg chg="mod">
          <ac:chgData name="Fatma Alsagaf" userId="ef587b5e-378a-4bb3-aa9f-3c15b98138a4" providerId="ADAL" clId="{EA3EF6B8-8642-4B5F-8380-9CD710A0C079}" dt="2023-08-14T11:24:51.466" v="2"/>
          <ac:spMkLst>
            <pc:docMk/>
            <pc:sldMk cId="2463444985" sldId="2147377175"/>
            <ac:spMk id="6" creationId="{87F7037D-1A17-85CE-A822-64A1B7A3DAFF}"/>
          </ac:spMkLst>
        </pc:spChg>
        <pc:spChg chg="mod">
          <ac:chgData name="Fatma Alsagaf" userId="ef587b5e-378a-4bb3-aa9f-3c15b98138a4" providerId="ADAL" clId="{EA3EF6B8-8642-4B5F-8380-9CD710A0C079}" dt="2023-08-14T11:24:51.466" v="2"/>
          <ac:spMkLst>
            <pc:docMk/>
            <pc:sldMk cId="2463444985" sldId="2147377175"/>
            <ac:spMk id="7" creationId="{B20DBA53-7164-8805-5A84-E562E78D6D86}"/>
          </ac:spMkLst>
        </pc:spChg>
        <pc:spChg chg="mod">
          <ac:chgData name="Fatma Alsagaf" userId="ef587b5e-378a-4bb3-aa9f-3c15b98138a4" providerId="ADAL" clId="{EA3EF6B8-8642-4B5F-8380-9CD710A0C079}" dt="2023-08-15T09:46:42.293" v="2020"/>
          <ac:spMkLst>
            <pc:docMk/>
            <pc:sldMk cId="2463444985" sldId="2147377175"/>
            <ac:spMk id="7" creationId="{FA14D390-A822-D43C-67B3-09F1A1F65E12}"/>
          </ac:spMkLst>
        </pc:spChg>
        <pc:spChg chg="mod">
          <ac:chgData name="Fatma Alsagaf" userId="ef587b5e-378a-4bb3-aa9f-3c15b98138a4" providerId="ADAL" clId="{EA3EF6B8-8642-4B5F-8380-9CD710A0C079}" dt="2023-08-15T09:46:42.293" v="2020"/>
          <ac:spMkLst>
            <pc:docMk/>
            <pc:sldMk cId="2463444985" sldId="2147377175"/>
            <ac:spMk id="8" creationId="{504D4540-E534-460A-B297-1BB85C7A0A29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8" creationId="{AEB6459A-D894-73AC-2BAE-F4884D075066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9" creationId="{39A36C49-922B-ED1D-7E68-884D17E54BCE}"/>
          </ac:spMkLst>
        </pc:spChg>
        <pc:spChg chg="mod">
          <ac:chgData name="Fatma Alsagaf" userId="ef587b5e-378a-4bb3-aa9f-3c15b98138a4" providerId="ADAL" clId="{EA3EF6B8-8642-4B5F-8380-9CD710A0C079}" dt="2023-08-15T09:46:42.293" v="2020"/>
          <ac:spMkLst>
            <pc:docMk/>
            <pc:sldMk cId="2463444985" sldId="2147377175"/>
            <ac:spMk id="9" creationId="{94C20472-CBA0-E302-72D7-231BA691CA08}"/>
          </ac:spMkLst>
        </pc:spChg>
        <pc:spChg chg="mod">
          <ac:chgData name="Fatma Alsagaf" userId="ef587b5e-378a-4bb3-aa9f-3c15b98138a4" providerId="ADAL" clId="{EA3EF6B8-8642-4B5F-8380-9CD710A0C079}" dt="2023-08-15T09:46:42.293" v="2020"/>
          <ac:spMkLst>
            <pc:docMk/>
            <pc:sldMk cId="2463444985" sldId="2147377175"/>
            <ac:spMk id="10" creationId="{33AB3966-B367-8D23-301D-98654938712E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" creationId="{A6D9A14F-94BD-8B56-985C-E44624E43492}"/>
          </ac:spMkLst>
        </pc:spChg>
        <pc:spChg chg="mod">
          <ac:chgData name="Fatma Alsagaf" userId="ef587b5e-378a-4bb3-aa9f-3c15b98138a4" providerId="ADAL" clId="{EA3EF6B8-8642-4B5F-8380-9CD710A0C079}" dt="2023-08-15T11:40:26.797" v="2581" actId="1076"/>
          <ac:spMkLst>
            <pc:docMk/>
            <pc:sldMk cId="2463444985" sldId="2147377175"/>
            <ac:spMk id="11" creationId="{9291974D-94F5-468A-87AC-B7EFF95696CC}"/>
          </ac:spMkLst>
        </pc:spChg>
        <pc:spChg chg="mod">
          <ac:chgData name="Fatma Alsagaf" userId="ef587b5e-378a-4bb3-aa9f-3c15b98138a4" providerId="ADAL" clId="{EA3EF6B8-8642-4B5F-8380-9CD710A0C079}" dt="2023-08-15T09:46:42.293" v="2020"/>
          <ac:spMkLst>
            <pc:docMk/>
            <pc:sldMk cId="2463444985" sldId="2147377175"/>
            <ac:spMk id="12" creationId="{6DF09EB7-48A2-EF60-56EA-1B88BBAD899B}"/>
          </ac:spMkLst>
        </pc:spChg>
        <pc:spChg chg="mod">
          <ac:chgData name="Fatma Alsagaf" userId="ef587b5e-378a-4bb3-aa9f-3c15b98138a4" providerId="ADAL" clId="{EA3EF6B8-8642-4B5F-8380-9CD710A0C079}" dt="2023-08-14T11:24:51.466" v="2"/>
          <ac:spMkLst>
            <pc:docMk/>
            <pc:sldMk cId="2463444985" sldId="2147377175"/>
            <ac:spMk id="12" creationId="{B04EE307-0625-4669-C97C-0E274CF0C81D}"/>
          </ac:spMkLst>
        </pc:spChg>
        <pc:spChg chg="mod">
          <ac:chgData name="Fatma Alsagaf" userId="ef587b5e-378a-4bb3-aa9f-3c15b98138a4" providerId="ADAL" clId="{EA3EF6B8-8642-4B5F-8380-9CD710A0C079}" dt="2023-08-14T11:24:51.466" v="2"/>
          <ac:spMkLst>
            <pc:docMk/>
            <pc:sldMk cId="2463444985" sldId="2147377175"/>
            <ac:spMk id="13" creationId="{DC3EEBA2-C96B-8B2E-CB24-8C229255BBA4}"/>
          </ac:spMkLst>
        </pc:spChg>
        <pc:spChg chg="mod">
          <ac:chgData name="Fatma Alsagaf" userId="ef587b5e-378a-4bb3-aa9f-3c15b98138a4" providerId="ADAL" clId="{EA3EF6B8-8642-4B5F-8380-9CD710A0C079}" dt="2023-08-15T09:46:42.293" v="2020"/>
          <ac:spMkLst>
            <pc:docMk/>
            <pc:sldMk cId="2463444985" sldId="2147377175"/>
            <ac:spMk id="13" creationId="{E8937A40-3509-4B4D-C0EE-7D1DE50F3E20}"/>
          </ac:spMkLst>
        </pc:spChg>
        <pc:spChg chg="mod">
          <ac:chgData name="Fatma Alsagaf" userId="ef587b5e-378a-4bb3-aa9f-3c15b98138a4" providerId="ADAL" clId="{EA3EF6B8-8642-4B5F-8380-9CD710A0C079}" dt="2023-08-15T09:46:42.293" v="2020"/>
          <ac:spMkLst>
            <pc:docMk/>
            <pc:sldMk cId="2463444985" sldId="2147377175"/>
            <ac:spMk id="14" creationId="{41920174-F33A-0364-F59B-7A47E0ADC7F0}"/>
          </ac:spMkLst>
        </pc:spChg>
        <pc:spChg chg="mod">
          <ac:chgData name="Fatma Alsagaf" userId="ef587b5e-378a-4bb3-aa9f-3c15b98138a4" providerId="ADAL" clId="{EA3EF6B8-8642-4B5F-8380-9CD710A0C079}" dt="2023-08-14T11:24:51.466" v="2"/>
          <ac:spMkLst>
            <pc:docMk/>
            <pc:sldMk cId="2463444985" sldId="2147377175"/>
            <ac:spMk id="14" creationId="{9CDDFE51-7EF0-E17C-E322-C2EADC6062DC}"/>
          </ac:spMkLst>
        </pc:spChg>
        <pc:spChg chg="mod">
          <ac:chgData name="Fatma Alsagaf" userId="ef587b5e-378a-4bb3-aa9f-3c15b98138a4" providerId="ADAL" clId="{EA3EF6B8-8642-4B5F-8380-9CD710A0C079}" dt="2023-08-15T09:46:42.293" v="2020"/>
          <ac:spMkLst>
            <pc:docMk/>
            <pc:sldMk cId="2463444985" sldId="2147377175"/>
            <ac:spMk id="15" creationId="{1A8DC22B-6FA2-19B5-8940-ECB53C2E6405}"/>
          </ac:spMkLst>
        </pc:spChg>
        <pc:spChg chg="mod">
          <ac:chgData name="Fatma Alsagaf" userId="ef587b5e-378a-4bb3-aa9f-3c15b98138a4" providerId="ADAL" clId="{EA3EF6B8-8642-4B5F-8380-9CD710A0C079}" dt="2023-08-14T11:24:51.466" v="2"/>
          <ac:spMkLst>
            <pc:docMk/>
            <pc:sldMk cId="2463444985" sldId="2147377175"/>
            <ac:spMk id="15" creationId="{26BBEB0D-138A-99C6-47F6-2880CDA3B7AA}"/>
          </ac:spMkLst>
        </pc:spChg>
        <pc:spChg chg="mod">
          <ac:chgData name="Fatma Alsagaf" userId="ef587b5e-378a-4bb3-aa9f-3c15b98138a4" providerId="ADAL" clId="{EA3EF6B8-8642-4B5F-8380-9CD710A0C079}" dt="2023-08-15T09:51:14.098" v="2097" actId="164"/>
          <ac:spMkLst>
            <pc:docMk/>
            <pc:sldMk cId="2463444985" sldId="2147377175"/>
            <ac:spMk id="17" creationId="{25C66145-CCD6-B9DC-0585-9DE07978D9A5}"/>
          </ac:spMkLst>
        </pc:spChg>
        <pc:spChg chg="mod">
          <ac:chgData name="Fatma Alsagaf" userId="ef587b5e-378a-4bb3-aa9f-3c15b98138a4" providerId="ADAL" clId="{EA3EF6B8-8642-4B5F-8380-9CD710A0C079}" dt="2023-08-15T09:51:14.098" v="2097" actId="164"/>
          <ac:spMkLst>
            <pc:docMk/>
            <pc:sldMk cId="2463444985" sldId="2147377175"/>
            <ac:spMk id="18" creationId="{3E9CE560-3C75-B864-7BCC-C5BB3CBB2A13}"/>
          </ac:spMkLst>
        </pc:spChg>
        <pc:spChg chg="mod">
          <ac:chgData name="Fatma Alsagaf" userId="ef587b5e-378a-4bb3-aa9f-3c15b98138a4" providerId="ADAL" clId="{EA3EF6B8-8642-4B5F-8380-9CD710A0C079}" dt="2023-08-15T09:51:14.098" v="2097" actId="164"/>
          <ac:spMkLst>
            <pc:docMk/>
            <pc:sldMk cId="2463444985" sldId="2147377175"/>
            <ac:spMk id="19" creationId="{4F13777A-EE99-50E1-C287-88FF8BC80656}"/>
          </ac:spMkLst>
        </pc:spChg>
        <pc:spChg chg="mod">
          <ac:chgData name="Fatma Alsagaf" userId="ef587b5e-378a-4bb3-aa9f-3c15b98138a4" providerId="ADAL" clId="{EA3EF6B8-8642-4B5F-8380-9CD710A0C079}" dt="2023-08-15T09:51:14.098" v="2097" actId="164"/>
          <ac:spMkLst>
            <pc:docMk/>
            <pc:sldMk cId="2463444985" sldId="2147377175"/>
            <ac:spMk id="20" creationId="{ADC10136-6B48-8A2A-C4B2-F3252F1E0F45}"/>
          </ac:spMkLst>
        </pc:spChg>
        <pc:spChg chg="mod">
          <ac:chgData name="Fatma Alsagaf" userId="ef587b5e-378a-4bb3-aa9f-3c15b98138a4" providerId="ADAL" clId="{EA3EF6B8-8642-4B5F-8380-9CD710A0C079}" dt="2023-08-15T09:51:14.098" v="2097" actId="164"/>
          <ac:spMkLst>
            <pc:docMk/>
            <pc:sldMk cId="2463444985" sldId="2147377175"/>
            <ac:spMk id="21" creationId="{FC2EC1DD-7621-2803-EA82-B507A3456DF7}"/>
          </ac:spMkLst>
        </pc:spChg>
        <pc:spChg chg="mod">
          <ac:chgData name="Fatma Alsagaf" userId="ef587b5e-378a-4bb3-aa9f-3c15b98138a4" providerId="ADAL" clId="{EA3EF6B8-8642-4B5F-8380-9CD710A0C079}" dt="2023-08-15T09:51:14.098" v="2097" actId="164"/>
          <ac:spMkLst>
            <pc:docMk/>
            <pc:sldMk cId="2463444985" sldId="2147377175"/>
            <ac:spMk id="22" creationId="{C98CC1E7-1A21-CCA2-5543-DF5E1F6F181D}"/>
          </ac:spMkLst>
        </pc:spChg>
        <pc:spChg chg="add mod">
          <ac:chgData name="Fatma Alsagaf" userId="ef587b5e-378a-4bb3-aa9f-3c15b98138a4" providerId="ADAL" clId="{EA3EF6B8-8642-4B5F-8380-9CD710A0C079}" dt="2023-08-15T09:52:45.298" v="2108" actId="1076"/>
          <ac:spMkLst>
            <pc:docMk/>
            <pc:sldMk cId="2463444985" sldId="2147377175"/>
            <ac:spMk id="23" creationId="{759906D1-7E57-1F88-F53D-9F5C703BAA91}"/>
          </ac:spMkLst>
        </pc:spChg>
        <pc:spChg chg="add mod">
          <ac:chgData name="Fatma Alsagaf" userId="ef587b5e-378a-4bb3-aa9f-3c15b98138a4" providerId="ADAL" clId="{EA3EF6B8-8642-4B5F-8380-9CD710A0C079}" dt="2023-08-15T09:52:48.819" v="2109" actId="1076"/>
          <ac:spMkLst>
            <pc:docMk/>
            <pc:sldMk cId="2463444985" sldId="2147377175"/>
            <ac:spMk id="24" creationId="{6F0DCDCB-70B1-F67A-1B8B-1CE6CE5F16EA}"/>
          </ac:spMkLst>
        </pc:spChg>
        <pc:spChg chg="add mod">
          <ac:chgData name="Fatma Alsagaf" userId="ef587b5e-378a-4bb3-aa9f-3c15b98138a4" providerId="ADAL" clId="{EA3EF6B8-8642-4B5F-8380-9CD710A0C079}" dt="2023-08-15T09:52:40.921" v="2107" actId="1076"/>
          <ac:spMkLst>
            <pc:docMk/>
            <pc:sldMk cId="2463444985" sldId="2147377175"/>
            <ac:spMk id="25" creationId="{8B1E041A-8BB4-F9F2-F6E2-1A4C7B9ACDC5}"/>
          </ac:spMkLst>
        </pc:spChg>
        <pc:spChg chg="add del mod">
          <ac:chgData name="Fatma Alsagaf" userId="ef587b5e-378a-4bb3-aa9f-3c15b98138a4" providerId="ADAL" clId="{EA3EF6B8-8642-4B5F-8380-9CD710A0C079}" dt="2023-08-14T11:26:24.033" v="24"/>
          <ac:spMkLst>
            <pc:docMk/>
            <pc:sldMk cId="2463444985" sldId="2147377175"/>
            <ac:spMk id="26" creationId="{18CBFBDD-FF36-C968-34B0-C6209DF9329C}"/>
          </ac:spMkLst>
        </pc:spChg>
        <pc:spChg chg="add del mod">
          <ac:chgData name="Fatma Alsagaf" userId="ef587b5e-378a-4bb3-aa9f-3c15b98138a4" providerId="ADAL" clId="{EA3EF6B8-8642-4B5F-8380-9CD710A0C079}" dt="2023-08-14T11:26:24.033" v="24"/>
          <ac:spMkLst>
            <pc:docMk/>
            <pc:sldMk cId="2463444985" sldId="2147377175"/>
            <ac:spMk id="27" creationId="{AED60E81-A728-360D-1DA3-63BF62F5F8DC}"/>
          </ac:spMkLst>
        </pc:spChg>
        <pc:spChg chg="mod">
          <ac:chgData name="Fatma Alsagaf" userId="ef587b5e-378a-4bb3-aa9f-3c15b98138a4" providerId="ADAL" clId="{EA3EF6B8-8642-4B5F-8380-9CD710A0C079}" dt="2023-08-15T09:50:24.026" v="2083"/>
          <ac:spMkLst>
            <pc:docMk/>
            <pc:sldMk cId="2463444985" sldId="2147377175"/>
            <ac:spMk id="28" creationId="{93670A3E-BFFC-1E3D-042B-8A98AFDE3317}"/>
          </ac:spMkLst>
        </pc:spChg>
        <pc:spChg chg="mod">
          <ac:chgData name="Fatma Alsagaf" userId="ef587b5e-378a-4bb3-aa9f-3c15b98138a4" providerId="ADAL" clId="{EA3EF6B8-8642-4B5F-8380-9CD710A0C079}" dt="2023-08-14T11:26:20.531" v="23"/>
          <ac:spMkLst>
            <pc:docMk/>
            <pc:sldMk cId="2463444985" sldId="2147377175"/>
            <ac:spMk id="29" creationId="{ADEC0496-F0DC-34EE-454E-40450603EBB1}"/>
          </ac:spMkLst>
        </pc:spChg>
        <pc:spChg chg="mod">
          <ac:chgData name="Fatma Alsagaf" userId="ef587b5e-378a-4bb3-aa9f-3c15b98138a4" providerId="ADAL" clId="{EA3EF6B8-8642-4B5F-8380-9CD710A0C079}" dt="2023-08-15T09:50:24.026" v="2083"/>
          <ac:spMkLst>
            <pc:docMk/>
            <pc:sldMk cId="2463444985" sldId="2147377175"/>
            <ac:spMk id="29" creationId="{B0D845AB-8DB2-514C-074F-AE163F34423F}"/>
          </ac:spMkLst>
        </pc:spChg>
        <pc:spChg chg="mod">
          <ac:chgData name="Fatma Alsagaf" userId="ef587b5e-378a-4bb3-aa9f-3c15b98138a4" providerId="ADAL" clId="{EA3EF6B8-8642-4B5F-8380-9CD710A0C079}" dt="2023-08-14T11:26:20.531" v="23"/>
          <ac:spMkLst>
            <pc:docMk/>
            <pc:sldMk cId="2463444985" sldId="2147377175"/>
            <ac:spMk id="30" creationId="{322345F0-7D6B-DEB8-F2AC-18C9A07831B6}"/>
          </ac:spMkLst>
        </pc:spChg>
        <pc:spChg chg="mod">
          <ac:chgData name="Fatma Alsagaf" userId="ef587b5e-378a-4bb3-aa9f-3c15b98138a4" providerId="ADAL" clId="{EA3EF6B8-8642-4B5F-8380-9CD710A0C079}" dt="2023-08-15T09:50:24.026" v="2083"/>
          <ac:spMkLst>
            <pc:docMk/>
            <pc:sldMk cId="2463444985" sldId="2147377175"/>
            <ac:spMk id="30" creationId="{E9756A62-0F51-0713-4719-AF867762E1B5}"/>
          </ac:spMkLst>
        </pc:spChg>
        <pc:spChg chg="mod">
          <ac:chgData name="Fatma Alsagaf" userId="ef587b5e-378a-4bb3-aa9f-3c15b98138a4" providerId="ADAL" clId="{EA3EF6B8-8642-4B5F-8380-9CD710A0C079}" dt="2023-08-15T09:50:24.026" v="2083"/>
          <ac:spMkLst>
            <pc:docMk/>
            <pc:sldMk cId="2463444985" sldId="2147377175"/>
            <ac:spMk id="31" creationId="{5E652A6F-FF3D-2D1C-929C-9E8C3CA7B376}"/>
          </ac:spMkLst>
        </pc:spChg>
        <pc:spChg chg="mod">
          <ac:chgData name="Fatma Alsagaf" userId="ef587b5e-378a-4bb3-aa9f-3c15b98138a4" providerId="ADAL" clId="{EA3EF6B8-8642-4B5F-8380-9CD710A0C079}" dt="2023-08-14T11:26:20.531" v="23"/>
          <ac:spMkLst>
            <pc:docMk/>
            <pc:sldMk cId="2463444985" sldId="2147377175"/>
            <ac:spMk id="31" creationId="{9331E0E0-6BE7-BD14-05C4-F7D691B6F99E}"/>
          </ac:spMkLst>
        </pc:spChg>
        <pc:spChg chg="mod">
          <ac:chgData name="Fatma Alsagaf" userId="ef587b5e-378a-4bb3-aa9f-3c15b98138a4" providerId="ADAL" clId="{EA3EF6B8-8642-4B5F-8380-9CD710A0C079}" dt="2023-08-15T09:50:24.026" v="2083"/>
          <ac:spMkLst>
            <pc:docMk/>
            <pc:sldMk cId="2463444985" sldId="2147377175"/>
            <ac:spMk id="32" creationId="{440C4D00-F3E7-66FA-5D5E-E4AF76696DAF}"/>
          </ac:spMkLst>
        </pc:spChg>
        <pc:spChg chg="mod">
          <ac:chgData name="Fatma Alsagaf" userId="ef587b5e-378a-4bb3-aa9f-3c15b98138a4" providerId="ADAL" clId="{EA3EF6B8-8642-4B5F-8380-9CD710A0C079}" dt="2023-08-14T11:26:20.531" v="23"/>
          <ac:spMkLst>
            <pc:docMk/>
            <pc:sldMk cId="2463444985" sldId="2147377175"/>
            <ac:spMk id="32" creationId="{C25A6A6B-B2BA-EF79-374E-CA4E767A9347}"/>
          </ac:spMkLst>
        </pc:spChg>
        <pc:spChg chg="mod">
          <ac:chgData name="Fatma Alsagaf" userId="ef587b5e-378a-4bb3-aa9f-3c15b98138a4" providerId="ADAL" clId="{EA3EF6B8-8642-4B5F-8380-9CD710A0C079}" dt="2023-08-15T09:50:24.026" v="2083"/>
          <ac:spMkLst>
            <pc:docMk/>
            <pc:sldMk cId="2463444985" sldId="2147377175"/>
            <ac:spMk id="33" creationId="{36EE49C3-B7B6-0D18-0F96-FA0F5F0DCE94}"/>
          </ac:spMkLst>
        </pc:spChg>
        <pc:spChg chg="mod">
          <ac:chgData name="Fatma Alsagaf" userId="ef587b5e-378a-4bb3-aa9f-3c15b98138a4" providerId="ADAL" clId="{EA3EF6B8-8642-4B5F-8380-9CD710A0C079}" dt="2023-08-14T11:26:20.531" v="23"/>
          <ac:spMkLst>
            <pc:docMk/>
            <pc:sldMk cId="2463444985" sldId="2147377175"/>
            <ac:spMk id="33" creationId="{B7D97638-F4A4-CDE1-A522-C9B228DD87FE}"/>
          </ac:spMkLst>
        </pc:spChg>
        <pc:spChg chg="mod">
          <ac:chgData name="Fatma Alsagaf" userId="ef587b5e-378a-4bb3-aa9f-3c15b98138a4" providerId="ADAL" clId="{EA3EF6B8-8642-4B5F-8380-9CD710A0C079}" dt="2023-08-15T09:50:37.574" v="2089" actId="403"/>
          <ac:spMkLst>
            <pc:docMk/>
            <pc:sldMk cId="2463444985" sldId="2147377175"/>
            <ac:spMk id="34" creationId="{5A62662C-4847-6CE7-8F21-D8CCF0030184}"/>
          </ac:spMkLst>
        </pc:spChg>
        <pc:spChg chg="mod">
          <ac:chgData name="Fatma Alsagaf" userId="ef587b5e-378a-4bb3-aa9f-3c15b98138a4" providerId="ADAL" clId="{EA3EF6B8-8642-4B5F-8380-9CD710A0C079}" dt="2023-08-14T11:26:20.531" v="23"/>
          <ac:spMkLst>
            <pc:docMk/>
            <pc:sldMk cId="2463444985" sldId="2147377175"/>
            <ac:spMk id="34" creationId="{71B49396-6A62-2165-6BC3-F77761176118}"/>
          </ac:spMkLst>
        </pc:spChg>
        <pc:spChg chg="mod">
          <ac:chgData name="Fatma Alsagaf" userId="ef587b5e-378a-4bb3-aa9f-3c15b98138a4" providerId="ADAL" clId="{EA3EF6B8-8642-4B5F-8380-9CD710A0C079}" dt="2023-08-14T11:26:20.531" v="23"/>
          <ac:spMkLst>
            <pc:docMk/>
            <pc:sldMk cId="2463444985" sldId="2147377175"/>
            <ac:spMk id="35" creationId="{4E5E4363-9A71-4171-8130-F58CBCBB335C}"/>
          </ac:spMkLst>
        </pc:spChg>
        <pc:spChg chg="mod">
          <ac:chgData name="Fatma Alsagaf" userId="ef587b5e-378a-4bb3-aa9f-3c15b98138a4" providerId="ADAL" clId="{EA3EF6B8-8642-4B5F-8380-9CD710A0C079}" dt="2023-08-15T09:50:37.574" v="2089" actId="403"/>
          <ac:spMkLst>
            <pc:docMk/>
            <pc:sldMk cId="2463444985" sldId="2147377175"/>
            <ac:spMk id="35" creationId="{F393373E-A1AC-CE60-6DAF-44F90559E82F}"/>
          </ac:spMkLst>
        </pc:spChg>
        <pc:spChg chg="mod">
          <ac:chgData name="Fatma Alsagaf" userId="ef587b5e-378a-4bb3-aa9f-3c15b98138a4" providerId="ADAL" clId="{EA3EF6B8-8642-4B5F-8380-9CD710A0C079}" dt="2023-08-15T09:50:37.574" v="2089" actId="403"/>
          <ac:spMkLst>
            <pc:docMk/>
            <pc:sldMk cId="2463444985" sldId="2147377175"/>
            <ac:spMk id="36" creationId="{AB72B8D5-4022-9371-C984-B96752B1196A}"/>
          </ac:spMkLst>
        </pc:spChg>
        <pc:spChg chg="mod">
          <ac:chgData name="Fatma Alsagaf" userId="ef587b5e-378a-4bb3-aa9f-3c15b98138a4" providerId="ADAL" clId="{EA3EF6B8-8642-4B5F-8380-9CD710A0C079}" dt="2023-08-14T11:26:20.531" v="23"/>
          <ac:spMkLst>
            <pc:docMk/>
            <pc:sldMk cId="2463444985" sldId="2147377175"/>
            <ac:spMk id="36" creationId="{F5135E3A-48FF-2915-1E46-C6731DBCA38F}"/>
          </ac:spMkLst>
        </pc:spChg>
        <pc:spChg chg="mod">
          <ac:chgData name="Fatma Alsagaf" userId="ef587b5e-378a-4bb3-aa9f-3c15b98138a4" providerId="ADAL" clId="{EA3EF6B8-8642-4B5F-8380-9CD710A0C079}" dt="2023-08-14T11:26:20.531" v="23"/>
          <ac:spMkLst>
            <pc:docMk/>
            <pc:sldMk cId="2463444985" sldId="2147377175"/>
            <ac:spMk id="37" creationId="{94959878-9864-8DE9-28C0-1C87038129DA}"/>
          </ac:spMkLst>
        </pc:spChg>
        <pc:spChg chg="mod">
          <ac:chgData name="Fatma Alsagaf" userId="ef587b5e-378a-4bb3-aa9f-3c15b98138a4" providerId="ADAL" clId="{EA3EF6B8-8642-4B5F-8380-9CD710A0C079}" dt="2023-08-15T09:50:37.574" v="2089" actId="403"/>
          <ac:spMkLst>
            <pc:docMk/>
            <pc:sldMk cId="2463444985" sldId="2147377175"/>
            <ac:spMk id="37" creationId="{B48F4354-4045-0C00-B38C-21C9E914B1E6}"/>
          </ac:spMkLst>
        </pc:spChg>
        <pc:spChg chg="mod">
          <ac:chgData name="Fatma Alsagaf" userId="ef587b5e-378a-4bb3-aa9f-3c15b98138a4" providerId="ADAL" clId="{EA3EF6B8-8642-4B5F-8380-9CD710A0C079}" dt="2023-08-14T11:26:20.531" v="23"/>
          <ac:spMkLst>
            <pc:docMk/>
            <pc:sldMk cId="2463444985" sldId="2147377175"/>
            <ac:spMk id="38" creationId="{2DB010DF-E744-1ED6-66A3-C4BC2A3100D2}"/>
          </ac:spMkLst>
        </pc:spChg>
        <pc:spChg chg="mod">
          <ac:chgData name="Fatma Alsagaf" userId="ef587b5e-378a-4bb3-aa9f-3c15b98138a4" providerId="ADAL" clId="{EA3EF6B8-8642-4B5F-8380-9CD710A0C079}" dt="2023-08-15T09:50:37.574" v="2089" actId="403"/>
          <ac:spMkLst>
            <pc:docMk/>
            <pc:sldMk cId="2463444985" sldId="2147377175"/>
            <ac:spMk id="38" creationId="{5A305A0A-E3AF-4699-0152-41550CE4A5E0}"/>
          </ac:spMkLst>
        </pc:spChg>
        <pc:spChg chg="mod">
          <ac:chgData name="Fatma Alsagaf" userId="ef587b5e-378a-4bb3-aa9f-3c15b98138a4" providerId="ADAL" clId="{EA3EF6B8-8642-4B5F-8380-9CD710A0C079}" dt="2023-08-15T09:50:37.574" v="2089" actId="403"/>
          <ac:spMkLst>
            <pc:docMk/>
            <pc:sldMk cId="2463444985" sldId="2147377175"/>
            <ac:spMk id="39" creationId="{5AEB652D-460C-5AF0-F7E0-E3438771E7A7}"/>
          </ac:spMkLst>
        </pc:spChg>
        <pc:spChg chg="mod">
          <ac:chgData name="Fatma Alsagaf" userId="ef587b5e-378a-4bb3-aa9f-3c15b98138a4" providerId="ADAL" clId="{EA3EF6B8-8642-4B5F-8380-9CD710A0C079}" dt="2023-08-14T11:26:20.531" v="23"/>
          <ac:spMkLst>
            <pc:docMk/>
            <pc:sldMk cId="2463444985" sldId="2147377175"/>
            <ac:spMk id="39" creationId="{F6E620A7-B48C-5AEA-BA5D-4A9349EED7E9}"/>
          </ac:spMkLst>
        </pc:spChg>
        <pc:spChg chg="mod">
          <ac:chgData name="Fatma Alsagaf" userId="ef587b5e-378a-4bb3-aa9f-3c15b98138a4" providerId="ADAL" clId="{EA3EF6B8-8642-4B5F-8380-9CD710A0C079}" dt="2023-08-15T09:50:37.574" v="2089" actId="403"/>
          <ac:spMkLst>
            <pc:docMk/>
            <pc:sldMk cId="2463444985" sldId="2147377175"/>
            <ac:spMk id="40" creationId="{3700E66E-1FEB-F168-9744-C3EE78833B01}"/>
          </ac:spMkLst>
        </pc:spChg>
        <pc:spChg chg="add del mod">
          <ac:chgData name="Fatma Alsagaf" userId="ef587b5e-378a-4bb3-aa9f-3c15b98138a4" providerId="ADAL" clId="{EA3EF6B8-8642-4B5F-8380-9CD710A0C079}" dt="2023-08-14T11:27:05.993" v="26"/>
          <ac:spMkLst>
            <pc:docMk/>
            <pc:sldMk cId="2463444985" sldId="2147377175"/>
            <ac:spMk id="40" creationId="{AC8DDBF8-A559-152D-31E5-9577C2ABF3CD}"/>
          </ac:spMkLst>
        </pc:spChg>
        <pc:spChg chg="add del mod">
          <ac:chgData name="Fatma Alsagaf" userId="ef587b5e-378a-4bb3-aa9f-3c15b98138a4" providerId="ADAL" clId="{EA3EF6B8-8642-4B5F-8380-9CD710A0C079}" dt="2023-08-14T11:27:05.993" v="26"/>
          <ac:spMkLst>
            <pc:docMk/>
            <pc:sldMk cId="2463444985" sldId="2147377175"/>
            <ac:spMk id="41" creationId="{E53D16FD-B2BD-B4CF-CD7D-03CB8CEF29FE}"/>
          </ac:spMkLst>
        </pc:spChg>
        <pc:spChg chg="mod">
          <ac:chgData name="Fatma Alsagaf" userId="ef587b5e-378a-4bb3-aa9f-3c15b98138a4" providerId="ADAL" clId="{EA3EF6B8-8642-4B5F-8380-9CD710A0C079}" dt="2023-08-15T09:50:37.574" v="2089" actId="403"/>
          <ac:spMkLst>
            <pc:docMk/>
            <pc:sldMk cId="2463444985" sldId="2147377175"/>
            <ac:spMk id="41" creationId="{EEE25DB2-7CFB-528F-9A2C-9E41C1A2C102}"/>
          </ac:spMkLst>
        </pc:spChg>
        <pc:spChg chg="mod">
          <ac:chgData name="Fatma Alsagaf" userId="ef587b5e-378a-4bb3-aa9f-3c15b98138a4" providerId="ADAL" clId="{EA3EF6B8-8642-4B5F-8380-9CD710A0C079}" dt="2023-08-15T09:50:37.574" v="2089" actId="403"/>
          <ac:spMkLst>
            <pc:docMk/>
            <pc:sldMk cId="2463444985" sldId="2147377175"/>
            <ac:spMk id="42" creationId="{0616CE6C-23A4-B10D-D8B9-744BD4783EAA}"/>
          </ac:spMkLst>
        </pc:spChg>
        <pc:spChg chg="add del mod">
          <ac:chgData name="Fatma Alsagaf" userId="ef587b5e-378a-4bb3-aa9f-3c15b98138a4" providerId="ADAL" clId="{EA3EF6B8-8642-4B5F-8380-9CD710A0C079}" dt="2023-08-14T11:27:05.993" v="26"/>
          <ac:spMkLst>
            <pc:docMk/>
            <pc:sldMk cId="2463444985" sldId="2147377175"/>
            <ac:spMk id="42" creationId="{BBADF705-BAE3-30FE-1E5B-3D594A42F6F1}"/>
          </ac:spMkLst>
        </pc:spChg>
        <pc:spChg chg="add mod">
          <ac:chgData name="Fatma Alsagaf" userId="ef587b5e-378a-4bb3-aa9f-3c15b98138a4" providerId="ADAL" clId="{EA3EF6B8-8642-4B5F-8380-9CD710A0C079}" dt="2023-08-15T11:44:18.630" v="2618" actId="1076"/>
          <ac:spMkLst>
            <pc:docMk/>
            <pc:sldMk cId="2463444985" sldId="2147377175"/>
            <ac:spMk id="43" creationId="{1A3C44F1-75D8-0D14-0C54-F7775DD5507C}"/>
          </ac:spMkLst>
        </pc:spChg>
        <pc:spChg chg="add mod">
          <ac:chgData name="Fatma Alsagaf" userId="ef587b5e-378a-4bb3-aa9f-3c15b98138a4" providerId="ADAL" clId="{EA3EF6B8-8642-4B5F-8380-9CD710A0C079}" dt="2023-08-15T11:42:53.800" v="2606"/>
          <ac:spMkLst>
            <pc:docMk/>
            <pc:sldMk cId="2463444985" sldId="2147377175"/>
            <ac:spMk id="44" creationId="{16D1CB68-BE17-0493-502F-A8468618B270}"/>
          </ac:spMkLst>
        </pc:spChg>
        <pc:spChg chg="add mod">
          <ac:chgData name="Fatma Alsagaf" userId="ef587b5e-378a-4bb3-aa9f-3c15b98138a4" providerId="ADAL" clId="{EA3EF6B8-8642-4B5F-8380-9CD710A0C079}" dt="2023-08-15T11:42:44.279" v="2603"/>
          <ac:spMkLst>
            <pc:docMk/>
            <pc:sldMk cId="2463444985" sldId="2147377175"/>
            <ac:spMk id="45" creationId="{4A53C9D9-49D2-DACD-E902-598A6BC39408}"/>
          </ac:spMkLst>
        </pc:spChg>
        <pc:spChg chg="mod">
          <ac:chgData name="Fatma Alsagaf" userId="ef587b5e-378a-4bb3-aa9f-3c15b98138a4" providerId="ADAL" clId="{EA3EF6B8-8642-4B5F-8380-9CD710A0C079}" dt="2023-08-15T09:50:37.574" v="2089" actId="403"/>
          <ac:spMkLst>
            <pc:docMk/>
            <pc:sldMk cId="2463444985" sldId="2147377175"/>
            <ac:spMk id="46" creationId="{988A87FE-D1DE-30EE-CBEA-A5D32F0AB9C8}"/>
          </ac:spMkLst>
        </pc:spChg>
        <pc:spChg chg="add del mod">
          <ac:chgData name="Fatma Alsagaf" userId="ef587b5e-378a-4bb3-aa9f-3c15b98138a4" providerId="ADAL" clId="{EA3EF6B8-8642-4B5F-8380-9CD710A0C079}" dt="2023-08-14T11:28:56.462" v="45"/>
          <ac:spMkLst>
            <pc:docMk/>
            <pc:sldMk cId="2463444985" sldId="2147377175"/>
            <ac:spMk id="48" creationId="{E26FE320-DED1-4DD5-FB15-130D01208B6F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49" creationId="{7D2A04BB-59CD-86E3-E845-C9B1CD0FADBC}"/>
          </ac:spMkLst>
        </pc:spChg>
        <pc:spChg chg="mod">
          <ac:chgData name="Fatma Alsagaf" userId="ef587b5e-378a-4bb3-aa9f-3c15b98138a4" providerId="ADAL" clId="{EA3EF6B8-8642-4B5F-8380-9CD710A0C079}" dt="2023-08-15T09:50:24.026" v="2083"/>
          <ac:spMkLst>
            <pc:docMk/>
            <pc:sldMk cId="2463444985" sldId="2147377175"/>
            <ac:spMk id="49" creationId="{AEF78A3C-A37E-E592-5643-97A518A77B25}"/>
          </ac:spMkLst>
        </pc:spChg>
        <pc:spChg chg="mod">
          <ac:chgData name="Fatma Alsagaf" userId="ef587b5e-378a-4bb3-aa9f-3c15b98138a4" providerId="ADAL" clId="{EA3EF6B8-8642-4B5F-8380-9CD710A0C079}" dt="2023-08-15T09:50:24.026" v="2083"/>
          <ac:spMkLst>
            <pc:docMk/>
            <pc:sldMk cId="2463444985" sldId="2147377175"/>
            <ac:spMk id="50" creationId="{63E1BE1D-6CB2-F002-C794-57A22CB61074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50" creationId="{EEDE42EF-3FC1-6BCF-BE3D-4A6EE7476B2B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51" creationId="{328659AE-9906-8405-FCB2-88D67DCE2AE9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52" creationId="{BC515623-8AC3-E254-5C8F-2F0E6A932B21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53" creationId="{1EDD21DB-07DC-8B4C-9E47-D0D65B0A4F6B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54" creationId="{531DB23D-4C8F-73F0-581E-46B74DC68827}"/>
          </ac:spMkLst>
        </pc:spChg>
        <pc:spChg chg="add del mod">
          <ac:chgData name="Fatma Alsagaf" userId="ef587b5e-378a-4bb3-aa9f-3c15b98138a4" providerId="ADAL" clId="{EA3EF6B8-8642-4B5F-8380-9CD710A0C079}" dt="2023-08-14T11:28:56.462" v="45"/>
          <ac:spMkLst>
            <pc:docMk/>
            <pc:sldMk cId="2463444985" sldId="2147377175"/>
            <ac:spMk id="55" creationId="{ABDE596A-60A0-6E55-C1B3-24A999F56DE1}"/>
          </ac:spMkLst>
        </pc:spChg>
        <pc:spChg chg="add del mod">
          <ac:chgData name="Fatma Alsagaf" userId="ef587b5e-378a-4bb3-aa9f-3c15b98138a4" providerId="ADAL" clId="{EA3EF6B8-8642-4B5F-8380-9CD710A0C079}" dt="2023-08-14T11:28:56.462" v="45"/>
          <ac:spMkLst>
            <pc:docMk/>
            <pc:sldMk cId="2463444985" sldId="2147377175"/>
            <ac:spMk id="56" creationId="{1E3A7168-9ABD-818F-2F30-D20098062F4E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57" creationId="{0EA321B8-7A1E-7243-02E6-BC843E07652B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58" creationId="{80701283-AF56-4B6A-4072-37641CA11DC4}"/>
          </ac:spMkLst>
        </pc:spChg>
        <pc:spChg chg="add del mod">
          <ac:chgData name="Fatma Alsagaf" userId="ef587b5e-378a-4bb3-aa9f-3c15b98138a4" providerId="ADAL" clId="{EA3EF6B8-8642-4B5F-8380-9CD710A0C079}" dt="2023-08-14T11:29:10.311" v="48" actId="478"/>
          <ac:spMkLst>
            <pc:docMk/>
            <pc:sldMk cId="2463444985" sldId="2147377175"/>
            <ac:spMk id="59" creationId="{ADC34D90-27F0-4541-3F75-E9E35E47089E}"/>
          </ac:spMkLst>
        </pc:spChg>
        <pc:spChg chg="add del mod">
          <ac:chgData name="Fatma Alsagaf" userId="ef587b5e-378a-4bb3-aa9f-3c15b98138a4" providerId="ADAL" clId="{EA3EF6B8-8642-4B5F-8380-9CD710A0C079}" dt="2023-08-14T11:29:10.311" v="48" actId="478"/>
          <ac:spMkLst>
            <pc:docMk/>
            <pc:sldMk cId="2463444985" sldId="2147377175"/>
            <ac:spMk id="60" creationId="{59C5ED3C-5AB7-AE6D-D6B0-59456DEAF776}"/>
          </ac:spMkLst>
        </pc:spChg>
        <pc:spChg chg="add del mod">
          <ac:chgData name="Fatma Alsagaf" userId="ef587b5e-378a-4bb3-aa9f-3c15b98138a4" providerId="ADAL" clId="{EA3EF6B8-8642-4B5F-8380-9CD710A0C079}" dt="2023-08-14T11:29:10.311" v="48" actId="478"/>
          <ac:spMkLst>
            <pc:docMk/>
            <pc:sldMk cId="2463444985" sldId="2147377175"/>
            <ac:spMk id="61" creationId="{CB7918B0-15BB-CB1A-2855-83A7895EDFCA}"/>
          </ac:spMkLst>
        </pc:spChg>
        <pc:spChg chg="add del mod">
          <ac:chgData name="Fatma Alsagaf" userId="ef587b5e-378a-4bb3-aa9f-3c15b98138a4" providerId="ADAL" clId="{EA3EF6B8-8642-4B5F-8380-9CD710A0C079}" dt="2023-08-14T11:29:20.717" v="50"/>
          <ac:spMkLst>
            <pc:docMk/>
            <pc:sldMk cId="2463444985" sldId="2147377175"/>
            <ac:spMk id="62" creationId="{14573632-63DF-0C96-0E75-D804861E199C}"/>
          </ac:spMkLst>
        </pc:spChg>
        <pc:spChg chg="add del mod">
          <ac:chgData name="Fatma Alsagaf" userId="ef587b5e-378a-4bb3-aa9f-3c15b98138a4" providerId="ADAL" clId="{EA3EF6B8-8642-4B5F-8380-9CD710A0C079}" dt="2023-08-14T11:29:20.717" v="50"/>
          <ac:spMkLst>
            <pc:docMk/>
            <pc:sldMk cId="2463444985" sldId="2147377175"/>
            <ac:spMk id="63" creationId="{61701787-8478-88A8-4070-A70EE509788A}"/>
          </ac:spMkLst>
        </pc:spChg>
        <pc:spChg chg="add del mod">
          <ac:chgData name="Fatma Alsagaf" userId="ef587b5e-378a-4bb3-aa9f-3c15b98138a4" providerId="ADAL" clId="{EA3EF6B8-8642-4B5F-8380-9CD710A0C079}" dt="2023-08-14T11:29:20.717" v="50"/>
          <ac:spMkLst>
            <pc:docMk/>
            <pc:sldMk cId="2463444985" sldId="2147377175"/>
            <ac:spMk id="64" creationId="{A20EF791-0277-9E56-D498-C2EB0CF8E279}"/>
          </ac:spMkLst>
        </pc:spChg>
        <pc:spChg chg="add del mod">
          <ac:chgData name="Fatma Alsagaf" userId="ef587b5e-378a-4bb3-aa9f-3c15b98138a4" providerId="ADAL" clId="{EA3EF6B8-8642-4B5F-8380-9CD710A0C079}" dt="2023-08-14T11:29:20.717" v="50"/>
          <ac:spMkLst>
            <pc:docMk/>
            <pc:sldMk cId="2463444985" sldId="2147377175"/>
            <ac:spMk id="65" creationId="{7B84DCC4-4593-EC03-EF26-64C9C540D0C3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66" creationId="{2C8A125F-183C-519D-3AA5-20BCC4BA5E6E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67" creationId="{372D12B6-D013-4D78-48D7-EA727B5B327F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68" creationId="{15D82186-E027-FD7A-7C6F-8255086916D9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70" creationId="{C22544F2-76BD-FFAD-20E7-444731841A92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71" creationId="{45C240A4-7A6F-37EF-9A3E-A7AAA19C3956}"/>
          </ac:spMkLst>
        </pc:spChg>
        <pc:spChg chg="add del mod">
          <ac:chgData name="Fatma Alsagaf" userId="ef587b5e-378a-4bb3-aa9f-3c15b98138a4" providerId="ADAL" clId="{EA3EF6B8-8642-4B5F-8380-9CD710A0C079}" dt="2023-08-14T11:29:42.442" v="54"/>
          <ac:spMkLst>
            <pc:docMk/>
            <pc:sldMk cId="2463444985" sldId="2147377175"/>
            <ac:spMk id="72" creationId="{8929773C-0EA6-99CB-D881-19F962674019}"/>
          </ac:spMkLst>
        </pc:spChg>
        <pc:spChg chg="add del mod">
          <ac:chgData name="Fatma Alsagaf" userId="ef587b5e-378a-4bb3-aa9f-3c15b98138a4" providerId="ADAL" clId="{EA3EF6B8-8642-4B5F-8380-9CD710A0C079}" dt="2023-08-14T11:29:42.442" v="54"/>
          <ac:spMkLst>
            <pc:docMk/>
            <pc:sldMk cId="2463444985" sldId="2147377175"/>
            <ac:spMk id="73" creationId="{DB1B406A-8BE0-C4B0-A8BF-654D967BC754}"/>
          </ac:spMkLst>
        </pc:spChg>
        <pc:spChg chg="add del mod">
          <ac:chgData name="Fatma Alsagaf" userId="ef587b5e-378a-4bb3-aa9f-3c15b98138a4" providerId="ADAL" clId="{EA3EF6B8-8642-4B5F-8380-9CD710A0C079}" dt="2023-08-14T11:29:42.442" v="54"/>
          <ac:spMkLst>
            <pc:docMk/>
            <pc:sldMk cId="2463444985" sldId="2147377175"/>
            <ac:spMk id="74" creationId="{014D48C0-7431-94E7-1D1C-69C42011CD8C}"/>
          </ac:spMkLst>
        </pc:spChg>
        <pc:spChg chg="add del mod">
          <ac:chgData name="Fatma Alsagaf" userId="ef587b5e-378a-4bb3-aa9f-3c15b98138a4" providerId="ADAL" clId="{EA3EF6B8-8642-4B5F-8380-9CD710A0C079}" dt="2023-08-14T11:29:42.442" v="54"/>
          <ac:spMkLst>
            <pc:docMk/>
            <pc:sldMk cId="2463444985" sldId="2147377175"/>
            <ac:spMk id="75" creationId="{B4D33AAC-A130-7D18-712A-7DE59FB38A8F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76" creationId="{207B8D3E-61CB-7BDA-FE63-389ECE3341F3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77" creationId="{67874B51-B8EA-8C4C-9681-A238A47CE322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78" creationId="{3E264094-A6B8-14B3-FDE6-ED16B6E88CF0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79" creationId="{4E706CF8-BD8C-E08C-08F7-C0E713CAD147}"/>
          </ac:spMkLst>
        </pc:spChg>
        <pc:spChg chg="add del mod">
          <ac:chgData name="Fatma Alsagaf" userId="ef587b5e-378a-4bb3-aa9f-3c15b98138a4" providerId="ADAL" clId="{EA3EF6B8-8642-4B5F-8380-9CD710A0C079}" dt="2023-08-14T11:30:09.173" v="58"/>
          <ac:spMkLst>
            <pc:docMk/>
            <pc:sldMk cId="2463444985" sldId="2147377175"/>
            <ac:spMk id="80" creationId="{72719BE1-A0E8-3E97-B232-00C863086C10}"/>
          </ac:spMkLst>
        </pc:spChg>
        <pc:spChg chg="add del mod">
          <ac:chgData name="Fatma Alsagaf" userId="ef587b5e-378a-4bb3-aa9f-3c15b98138a4" providerId="ADAL" clId="{EA3EF6B8-8642-4B5F-8380-9CD710A0C079}" dt="2023-08-14T11:30:09.173" v="58"/>
          <ac:spMkLst>
            <pc:docMk/>
            <pc:sldMk cId="2463444985" sldId="2147377175"/>
            <ac:spMk id="81" creationId="{C9255700-FE08-BAD0-0008-832A4BFBB761}"/>
          </ac:spMkLst>
        </pc:spChg>
        <pc:spChg chg="add del mod">
          <ac:chgData name="Fatma Alsagaf" userId="ef587b5e-378a-4bb3-aa9f-3c15b98138a4" providerId="ADAL" clId="{EA3EF6B8-8642-4B5F-8380-9CD710A0C079}" dt="2023-08-14T11:30:09.173" v="58"/>
          <ac:spMkLst>
            <pc:docMk/>
            <pc:sldMk cId="2463444985" sldId="2147377175"/>
            <ac:spMk id="82" creationId="{81C7E935-184A-66CE-5AEE-52FA3440A2DB}"/>
          </ac:spMkLst>
        </pc:spChg>
        <pc:spChg chg="add del mod">
          <ac:chgData name="Fatma Alsagaf" userId="ef587b5e-378a-4bb3-aa9f-3c15b98138a4" providerId="ADAL" clId="{EA3EF6B8-8642-4B5F-8380-9CD710A0C079}" dt="2023-08-14T11:30:09.173" v="58"/>
          <ac:spMkLst>
            <pc:docMk/>
            <pc:sldMk cId="2463444985" sldId="2147377175"/>
            <ac:spMk id="83" creationId="{F2366F62-4944-5CC0-9068-C37187004383}"/>
          </ac:spMkLst>
        </pc:spChg>
        <pc:spChg chg="add del mod">
          <ac:chgData name="Fatma Alsagaf" userId="ef587b5e-378a-4bb3-aa9f-3c15b98138a4" providerId="ADAL" clId="{EA3EF6B8-8642-4B5F-8380-9CD710A0C079}" dt="2023-08-14T11:30:13.805" v="62"/>
          <ac:spMkLst>
            <pc:docMk/>
            <pc:sldMk cId="2463444985" sldId="2147377175"/>
            <ac:spMk id="84" creationId="{F3B8E953-F95F-7211-E6F3-990F38747A14}"/>
          </ac:spMkLst>
        </pc:spChg>
        <pc:spChg chg="add del mod">
          <ac:chgData name="Fatma Alsagaf" userId="ef587b5e-378a-4bb3-aa9f-3c15b98138a4" providerId="ADAL" clId="{EA3EF6B8-8642-4B5F-8380-9CD710A0C079}" dt="2023-08-14T11:30:13.805" v="62"/>
          <ac:spMkLst>
            <pc:docMk/>
            <pc:sldMk cId="2463444985" sldId="2147377175"/>
            <ac:spMk id="85" creationId="{B70C3FCB-F8ED-EF27-733B-4E08F30021F9}"/>
          </ac:spMkLst>
        </pc:spChg>
        <pc:spChg chg="add del mod">
          <ac:chgData name="Fatma Alsagaf" userId="ef587b5e-378a-4bb3-aa9f-3c15b98138a4" providerId="ADAL" clId="{EA3EF6B8-8642-4B5F-8380-9CD710A0C079}" dt="2023-08-14T11:30:13.805" v="62"/>
          <ac:spMkLst>
            <pc:docMk/>
            <pc:sldMk cId="2463444985" sldId="2147377175"/>
            <ac:spMk id="87" creationId="{46F19DCA-F883-BEE0-0ACB-7C1224572ABD}"/>
          </ac:spMkLst>
        </pc:spChg>
        <pc:spChg chg="add del mod">
          <ac:chgData name="Fatma Alsagaf" userId="ef587b5e-378a-4bb3-aa9f-3c15b98138a4" providerId="ADAL" clId="{EA3EF6B8-8642-4B5F-8380-9CD710A0C079}" dt="2023-08-14T11:30:13.805" v="62"/>
          <ac:spMkLst>
            <pc:docMk/>
            <pc:sldMk cId="2463444985" sldId="2147377175"/>
            <ac:spMk id="88" creationId="{ECC71CFD-64E6-C51E-9FC8-A2368D50B107}"/>
          </ac:spMkLst>
        </pc:spChg>
        <pc:spChg chg="add del mod">
          <ac:chgData name="Fatma Alsagaf" userId="ef587b5e-378a-4bb3-aa9f-3c15b98138a4" providerId="ADAL" clId="{EA3EF6B8-8642-4B5F-8380-9CD710A0C079}" dt="2023-08-14T11:30:16.231" v="64"/>
          <ac:spMkLst>
            <pc:docMk/>
            <pc:sldMk cId="2463444985" sldId="2147377175"/>
            <ac:spMk id="89" creationId="{3062B2A4-CA87-5DA1-89F2-1FEC19C56064}"/>
          </ac:spMkLst>
        </pc:spChg>
        <pc:spChg chg="add del mod">
          <ac:chgData name="Fatma Alsagaf" userId="ef587b5e-378a-4bb3-aa9f-3c15b98138a4" providerId="ADAL" clId="{EA3EF6B8-8642-4B5F-8380-9CD710A0C079}" dt="2023-08-14T11:30:16.231" v="64"/>
          <ac:spMkLst>
            <pc:docMk/>
            <pc:sldMk cId="2463444985" sldId="2147377175"/>
            <ac:spMk id="93" creationId="{6F87E6EF-70CE-4E8B-F83E-D2FFD8C4BB0D}"/>
          </ac:spMkLst>
        </pc:spChg>
        <pc:spChg chg="add del mod">
          <ac:chgData name="Fatma Alsagaf" userId="ef587b5e-378a-4bb3-aa9f-3c15b98138a4" providerId="ADAL" clId="{EA3EF6B8-8642-4B5F-8380-9CD710A0C079}" dt="2023-08-14T11:30:16.231" v="64"/>
          <ac:spMkLst>
            <pc:docMk/>
            <pc:sldMk cId="2463444985" sldId="2147377175"/>
            <ac:spMk id="94" creationId="{112B3231-18AA-1379-002A-A5A80D44E8B3}"/>
          </ac:spMkLst>
        </pc:spChg>
        <pc:spChg chg="add del mod">
          <ac:chgData name="Fatma Alsagaf" userId="ef587b5e-378a-4bb3-aa9f-3c15b98138a4" providerId="ADAL" clId="{EA3EF6B8-8642-4B5F-8380-9CD710A0C079}" dt="2023-08-14T11:30:16.231" v="64"/>
          <ac:spMkLst>
            <pc:docMk/>
            <pc:sldMk cId="2463444985" sldId="2147377175"/>
            <ac:spMk id="95" creationId="{9B62CCB7-A852-4145-38E9-B76BEC08888A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96" creationId="{406CB4E1-E1F6-F157-6E51-744567B9511B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97" creationId="{A966508A-9F14-396A-D0E7-59B25AF8AAD5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98" creationId="{2F4B47AA-658F-DA50-3B87-8A90C89C28EF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99" creationId="{816A9E13-0205-8589-18F1-C0E1BCCA7EEB}"/>
          </ac:spMkLst>
        </pc:spChg>
        <pc:spChg chg="add del mod">
          <ac:chgData name="Fatma Alsagaf" userId="ef587b5e-378a-4bb3-aa9f-3c15b98138a4" providerId="ADAL" clId="{EA3EF6B8-8642-4B5F-8380-9CD710A0C079}" dt="2023-08-14T12:20:15.161" v="70"/>
          <ac:spMkLst>
            <pc:docMk/>
            <pc:sldMk cId="2463444985" sldId="2147377175"/>
            <ac:spMk id="100" creationId="{547F9662-03FF-FEB8-FD90-8B160AE9AF61}"/>
          </ac:spMkLst>
        </pc:spChg>
        <pc:spChg chg="add mod">
          <ac:chgData name="Fatma Alsagaf" userId="ef587b5e-378a-4bb3-aa9f-3c15b98138a4" providerId="ADAL" clId="{EA3EF6B8-8642-4B5F-8380-9CD710A0C079}" dt="2023-08-14T12:31:36.275" v="245" actId="14100"/>
          <ac:spMkLst>
            <pc:docMk/>
            <pc:sldMk cId="2463444985" sldId="2147377175"/>
            <ac:spMk id="101" creationId="{6F91CD83-CBC3-EC2C-4354-91B6A092A194}"/>
          </ac:spMkLst>
        </pc:spChg>
        <pc:spChg chg="add del mod">
          <ac:chgData name="Fatma Alsagaf" userId="ef587b5e-378a-4bb3-aa9f-3c15b98138a4" providerId="ADAL" clId="{EA3EF6B8-8642-4B5F-8380-9CD710A0C079}" dt="2023-08-14T12:21:56.560" v="94"/>
          <ac:spMkLst>
            <pc:docMk/>
            <pc:sldMk cId="2463444985" sldId="2147377175"/>
            <ac:spMk id="103" creationId="{C23A5928-4FAF-B5A9-A436-BD558E27F2D6}"/>
          </ac:spMkLst>
        </pc:spChg>
        <pc:spChg chg="add del mod">
          <ac:chgData name="Fatma Alsagaf" userId="ef587b5e-378a-4bb3-aa9f-3c15b98138a4" providerId="ADAL" clId="{EA3EF6B8-8642-4B5F-8380-9CD710A0C079}" dt="2023-08-14T12:22:03.313" v="97" actId="478"/>
          <ac:spMkLst>
            <pc:docMk/>
            <pc:sldMk cId="2463444985" sldId="2147377175"/>
            <ac:spMk id="104" creationId="{06F6CC0A-3FDF-8FF1-AAC9-034F307AAF1A}"/>
          </ac:spMkLst>
        </pc:spChg>
        <pc:spChg chg="add del mod">
          <ac:chgData name="Fatma Alsagaf" userId="ef587b5e-378a-4bb3-aa9f-3c15b98138a4" providerId="ADAL" clId="{EA3EF6B8-8642-4B5F-8380-9CD710A0C079}" dt="2023-08-14T12:29:07.638" v="159"/>
          <ac:spMkLst>
            <pc:docMk/>
            <pc:sldMk cId="2463444985" sldId="2147377175"/>
            <ac:spMk id="105" creationId="{94E6CE3C-EA2C-B60A-B234-976C57AAF1B8}"/>
          </ac:spMkLst>
        </pc:spChg>
        <pc:spChg chg="add del mod">
          <ac:chgData name="Fatma Alsagaf" userId="ef587b5e-378a-4bb3-aa9f-3c15b98138a4" providerId="ADAL" clId="{EA3EF6B8-8642-4B5F-8380-9CD710A0C079}" dt="2023-08-14T12:29:07.638" v="159"/>
          <ac:spMkLst>
            <pc:docMk/>
            <pc:sldMk cId="2463444985" sldId="2147377175"/>
            <ac:spMk id="106" creationId="{68B29570-DB66-BF9A-3230-F07DF2E1C15A}"/>
          </ac:spMkLst>
        </pc:spChg>
        <pc:spChg chg="add del mod">
          <ac:chgData name="Fatma Alsagaf" userId="ef587b5e-378a-4bb3-aa9f-3c15b98138a4" providerId="ADAL" clId="{EA3EF6B8-8642-4B5F-8380-9CD710A0C079}" dt="2023-08-14T12:30:33.094" v="203" actId="478"/>
          <ac:spMkLst>
            <pc:docMk/>
            <pc:sldMk cId="2463444985" sldId="2147377175"/>
            <ac:spMk id="107" creationId="{7D7A6358-8589-8896-AD3C-10AC4BD8EFAE}"/>
          </ac:spMkLst>
        </pc:spChg>
        <pc:spChg chg="add del mod">
          <ac:chgData name="Fatma Alsagaf" userId="ef587b5e-378a-4bb3-aa9f-3c15b98138a4" providerId="ADAL" clId="{EA3EF6B8-8642-4B5F-8380-9CD710A0C079}" dt="2023-08-14T12:29:37.727" v="181" actId="478"/>
          <ac:spMkLst>
            <pc:docMk/>
            <pc:sldMk cId="2463444985" sldId="2147377175"/>
            <ac:spMk id="108" creationId="{317AC1C3-7A64-8C31-AE39-07A44BBB9755}"/>
          </ac:spMkLst>
        </pc:spChg>
        <pc:spChg chg="add del mod">
          <ac:chgData name="Fatma Alsagaf" userId="ef587b5e-378a-4bb3-aa9f-3c15b98138a4" providerId="ADAL" clId="{EA3EF6B8-8642-4B5F-8380-9CD710A0C079}" dt="2023-08-14T12:31:57.396" v="247"/>
          <ac:spMkLst>
            <pc:docMk/>
            <pc:sldMk cId="2463444985" sldId="2147377175"/>
            <ac:spMk id="109" creationId="{FCDFC30E-DB44-8F25-AC85-F128152D3456}"/>
          </ac:spMkLst>
        </pc:spChg>
        <pc:spChg chg="add del mod">
          <ac:chgData name="Fatma Alsagaf" userId="ef587b5e-378a-4bb3-aa9f-3c15b98138a4" providerId="ADAL" clId="{EA3EF6B8-8642-4B5F-8380-9CD710A0C079}" dt="2023-08-14T12:31:57.396" v="247"/>
          <ac:spMkLst>
            <pc:docMk/>
            <pc:sldMk cId="2463444985" sldId="2147377175"/>
            <ac:spMk id="110" creationId="{1742B171-177B-EEFA-C5C1-77D4AA8E4B37}"/>
          </ac:spMkLst>
        </pc:spChg>
        <pc:spChg chg="add del mod">
          <ac:chgData name="Fatma Alsagaf" userId="ef587b5e-378a-4bb3-aa9f-3c15b98138a4" providerId="ADAL" clId="{EA3EF6B8-8642-4B5F-8380-9CD710A0C079}" dt="2023-08-14T12:31:57.396" v="247"/>
          <ac:spMkLst>
            <pc:docMk/>
            <pc:sldMk cId="2463444985" sldId="2147377175"/>
            <ac:spMk id="111" creationId="{461EA7F1-085B-D9DA-4329-B272B247946D}"/>
          </ac:spMkLst>
        </pc:spChg>
        <pc:spChg chg="add del mod">
          <ac:chgData name="Fatma Alsagaf" userId="ef587b5e-378a-4bb3-aa9f-3c15b98138a4" providerId="ADAL" clId="{EA3EF6B8-8642-4B5F-8380-9CD710A0C079}" dt="2023-08-14T12:31:57.396" v="247"/>
          <ac:spMkLst>
            <pc:docMk/>
            <pc:sldMk cId="2463444985" sldId="2147377175"/>
            <ac:spMk id="112" creationId="{F0C42245-62F1-7922-E10A-8D30A1612768}"/>
          </ac:spMkLst>
        </pc:spChg>
        <pc:spChg chg="add del mod">
          <ac:chgData name="Fatma Alsagaf" userId="ef587b5e-378a-4bb3-aa9f-3c15b98138a4" providerId="ADAL" clId="{EA3EF6B8-8642-4B5F-8380-9CD710A0C079}" dt="2023-08-14T12:31:57.396" v="247"/>
          <ac:spMkLst>
            <pc:docMk/>
            <pc:sldMk cId="2463444985" sldId="2147377175"/>
            <ac:spMk id="113" creationId="{833F3BDC-CBD0-B191-52DD-B6E91A5A9928}"/>
          </ac:spMkLst>
        </pc:spChg>
        <pc:spChg chg="add del mod">
          <ac:chgData name="Fatma Alsagaf" userId="ef587b5e-378a-4bb3-aa9f-3c15b98138a4" providerId="ADAL" clId="{EA3EF6B8-8642-4B5F-8380-9CD710A0C079}" dt="2023-08-15T11:40:52.111" v="2583" actId="478"/>
          <ac:spMkLst>
            <pc:docMk/>
            <pc:sldMk cId="2463444985" sldId="2147377175"/>
            <ac:spMk id="114" creationId="{18A99D97-6065-BF9A-9ABD-5231CC040B8E}"/>
          </ac:spMkLst>
        </pc:spChg>
        <pc:spChg chg="add del mod">
          <ac:chgData name="Fatma Alsagaf" userId="ef587b5e-378a-4bb3-aa9f-3c15b98138a4" providerId="ADAL" clId="{EA3EF6B8-8642-4B5F-8380-9CD710A0C079}" dt="2023-08-15T11:40:53.656" v="2584" actId="478"/>
          <ac:spMkLst>
            <pc:docMk/>
            <pc:sldMk cId="2463444985" sldId="2147377175"/>
            <ac:spMk id="115" creationId="{62356A68-B70E-D4A6-BE07-445117F6E850}"/>
          </ac:spMkLst>
        </pc:spChg>
        <pc:spChg chg="add del mod">
          <ac:chgData name="Fatma Alsagaf" userId="ef587b5e-378a-4bb3-aa9f-3c15b98138a4" providerId="ADAL" clId="{EA3EF6B8-8642-4B5F-8380-9CD710A0C079}" dt="2023-08-15T11:40:58.077" v="2587" actId="478"/>
          <ac:spMkLst>
            <pc:docMk/>
            <pc:sldMk cId="2463444985" sldId="2147377175"/>
            <ac:spMk id="116" creationId="{302A8F10-4B69-61C4-F991-B9F34509767A}"/>
          </ac:spMkLst>
        </pc:spChg>
        <pc:spChg chg="add del mod">
          <ac:chgData name="Fatma Alsagaf" userId="ef587b5e-378a-4bb3-aa9f-3c15b98138a4" providerId="ADAL" clId="{EA3EF6B8-8642-4B5F-8380-9CD710A0C079}" dt="2023-08-15T11:40:56.391" v="2586" actId="478"/>
          <ac:spMkLst>
            <pc:docMk/>
            <pc:sldMk cId="2463444985" sldId="2147377175"/>
            <ac:spMk id="117" creationId="{387A4F43-9943-B361-785A-799D9D1D2696}"/>
          </ac:spMkLst>
        </pc:spChg>
        <pc:spChg chg="add del mod">
          <ac:chgData name="Fatma Alsagaf" userId="ef587b5e-378a-4bb3-aa9f-3c15b98138a4" providerId="ADAL" clId="{EA3EF6B8-8642-4B5F-8380-9CD710A0C079}" dt="2023-08-15T11:40:54.893" v="2585" actId="478"/>
          <ac:spMkLst>
            <pc:docMk/>
            <pc:sldMk cId="2463444985" sldId="2147377175"/>
            <ac:spMk id="118" creationId="{7269EE49-3D93-E25A-CBCF-201F80B8DDE5}"/>
          </ac:spMkLst>
        </pc:spChg>
        <pc:spChg chg="add del mod">
          <ac:chgData name="Fatma Alsagaf" userId="ef587b5e-378a-4bb3-aa9f-3c15b98138a4" providerId="ADAL" clId="{EA3EF6B8-8642-4B5F-8380-9CD710A0C079}" dt="2023-08-14T12:33:16.525" v="254"/>
          <ac:spMkLst>
            <pc:docMk/>
            <pc:sldMk cId="2463444985" sldId="2147377175"/>
            <ac:spMk id="119" creationId="{8EB01FFB-59C1-3AEE-D6FE-DF29E557B1A2}"/>
          </ac:spMkLst>
        </pc:spChg>
        <pc:spChg chg="add del mod">
          <ac:chgData name="Fatma Alsagaf" userId="ef587b5e-378a-4bb3-aa9f-3c15b98138a4" providerId="ADAL" clId="{EA3EF6B8-8642-4B5F-8380-9CD710A0C079}" dt="2023-08-14T12:33:18.298" v="256"/>
          <ac:spMkLst>
            <pc:docMk/>
            <pc:sldMk cId="2463444985" sldId="2147377175"/>
            <ac:spMk id="120" creationId="{693841E1-391F-A7C6-5CE5-5605E6C4E82D}"/>
          </ac:spMkLst>
        </pc:spChg>
        <pc:spChg chg="add del mod">
          <ac:chgData name="Fatma Alsagaf" userId="ef587b5e-378a-4bb3-aa9f-3c15b98138a4" providerId="ADAL" clId="{EA3EF6B8-8642-4B5F-8380-9CD710A0C079}" dt="2023-08-14T12:33:23.603" v="258"/>
          <ac:spMkLst>
            <pc:docMk/>
            <pc:sldMk cId="2463444985" sldId="2147377175"/>
            <ac:spMk id="121" creationId="{5E534E79-1C5F-1AEE-8EFA-7548D5A5AF72}"/>
          </ac:spMkLst>
        </pc:spChg>
        <pc:spChg chg="add del mod">
          <ac:chgData name="Fatma Alsagaf" userId="ef587b5e-378a-4bb3-aa9f-3c15b98138a4" providerId="ADAL" clId="{EA3EF6B8-8642-4B5F-8380-9CD710A0C079}" dt="2023-08-14T12:33:23.603" v="258"/>
          <ac:spMkLst>
            <pc:docMk/>
            <pc:sldMk cId="2463444985" sldId="2147377175"/>
            <ac:spMk id="122" creationId="{0A06B039-C898-9285-4FDA-4F37F4C03020}"/>
          </ac:spMkLst>
        </pc:spChg>
        <pc:spChg chg="add del mod">
          <ac:chgData name="Fatma Alsagaf" userId="ef587b5e-378a-4bb3-aa9f-3c15b98138a4" providerId="ADAL" clId="{EA3EF6B8-8642-4B5F-8380-9CD710A0C079}" dt="2023-08-14T12:34:06.069" v="263" actId="478"/>
          <ac:spMkLst>
            <pc:docMk/>
            <pc:sldMk cId="2463444985" sldId="2147377175"/>
            <ac:spMk id="123" creationId="{5A97C002-FBB0-D223-8DAF-75451921C7A0}"/>
          </ac:spMkLst>
        </pc:spChg>
        <pc:spChg chg="add mod">
          <ac:chgData name="Fatma Alsagaf" userId="ef587b5e-378a-4bb3-aa9f-3c15b98138a4" providerId="ADAL" clId="{EA3EF6B8-8642-4B5F-8380-9CD710A0C079}" dt="2023-08-15T09:52:27.290" v="2105" actId="164"/>
          <ac:spMkLst>
            <pc:docMk/>
            <pc:sldMk cId="2463444985" sldId="2147377175"/>
            <ac:spMk id="124" creationId="{AB84FC99-B5E2-0B44-3DAF-E97A0350C489}"/>
          </ac:spMkLst>
        </pc:spChg>
        <pc:spChg chg="add mod">
          <ac:chgData name="Fatma Alsagaf" userId="ef587b5e-378a-4bb3-aa9f-3c15b98138a4" providerId="ADAL" clId="{EA3EF6B8-8642-4B5F-8380-9CD710A0C079}" dt="2023-08-14T12:34:49.372" v="265" actId="1076"/>
          <ac:spMkLst>
            <pc:docMk/>
            <pc:sldMk cId="2463444985" sldId="2147377175"/>
            <ac:spMk id="125" creationId="{2C035CF7-8496-EF20-2902-E171E8CA5A98}"/>
          </ac:spMkLst>
        </pc:spChg>
        <pc:spChg chg="add del mod">
          <ac:chgData name="Fatma Alsagaf" userId="ef587b5e-378a-4bb3-aa9f-3c15b98138a4" providerId="ADAL" clId="{EA3EF6B8-8642-4B5F-8380-9CD710A0C079}" dt="2023-08-14T12:35:36.126" v="309" actId="14100"/>
          <ac:spMkLst>
            <pc:docMk/>
            <pc:sldMk cId="2463444985" sldId="2147377175"/>
            <ac:spMk id="126" creationId="{E4AF11FA-56C0-5D04-ABF4-DEEFD737516F}"/>
          </ac:spMkLst>
        </pc:spChg>
        <pc:spChg chg="add mod">
          <ac:chgData name="Fatma Alsagaf" userId="ef587b5e-378a-4bb3-aa9f-3c15b98138a4" providerId="ADAL" clId="{EA3EF6B8-8642-4B5F-8380-9CD710A0C079}" dt="2023-08-14T12:35:24.640" v="288" actId="1076"/>
          <ac:spMkLst>
            <pc:docMk/>
            <pc:sldMk cId="2463444985" sldId="2147377175"/>
            <ac:spMk id="127" creationId="{57EB4B87-2360-D57C-3957-6D6B852BF4E9}"/>
          </ac:spMkLst>
        </pc:spChg>
        <pc:spChg chg="add del mod">
          <ac:chgData name="Fatma Alsagaf" userId="ef587b5e-378a-4bb3-aa9f-3c15b98138a4" providerId="ADAL" clId="{EA3EF6B8-8642-4B5F-8380-9CD710A0C079}" dt="2023-08-14T12:34:54.154" v="266" actId="478"/>
          <ac:spMkLst>
            <pc:docMk/>
            <pc:sldMk cId="2463444985" sldId="2147377175"/>
            <ac:spMk id="1024" creationId="{99D3691F-2814-FADB-3294-BC625C728971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35" creationId="{4AB1A7B4-3A9B-9F16-D1FB-1AC3457F03D6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41" creationId="{D3627AC0-AF67-8EAE-833D-94237614B302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42" creationId="{2C7BEC9E-811B-3837-03F8-FA4330C18BEB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51" creationId="{DD41BBD6-9109-0458-1D07-14C9C420B4E4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52" creationId="{26A73329-FE0F-1E45-156A-250D1F58AC74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53" creationId="{AE232E8D-120F-5580-9CBC-D988DD8761D0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54" creationId="{B1B81D04-3140-B5EC-FD43-7C07B285AD71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55" creationId="{E65FCBF7-CF2A-1BA3-F78A-55EE191AD407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56" creationId="{FF14FE24-7D82-3807-1133-6DECC4C42F21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57" creationId="{7F596D1C-1E3D-6F3C-5F6A-0DB86C4A8012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58" creationId="{6D8C0FAE-B83E-E0DF-AB91-4F30410704EE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59" creationId="{38B9B589-1167-7C0B-0F97-515EB6F383E0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60" creationId="{6D39F8F1-5F71-61A1-CC5A-1BBEAA939BD2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64" creationId="{E463DC5E-9B09-55B5-CE5F-A73B414EF4AE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65" creationId="{3C44E579-B6DA-1424-3DA1-F2D3862C06FA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66" creationId="{649670E1-86C1-FFF5-E7FA-54F86BD879E5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67" creationId="{93AA2B34-E5DF-6E9E-EB3F-3E9019AD4C44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74" creationId="{66FADB95-4CCC-7F51-6C9E-A1AB1F36678F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75" creationId="{E1D6E0EA-5E83-18FD-55EC-1E75053DD232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77" creationId="{43D2DC75-8A38-E253-1D3C-CACF8BDCB6E9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78" creationId="{FA0E86CC-AB2E-38E3-6FB7-63FC86C28A7C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79" creationId="{48C19F2F-8E6C-3336-E51F-DDEF15984BE4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80" creationId="{602442AC-1FF1-747B-5730-2032AB17D2E6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84" creationId="{958816BC-FB51-0FD3-9AEB-DC35D98BD659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85" creationId="{09ADAFD9-2AEC-2A31-6642-E16D3C34E452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86" creationId="{E070DC11-10E0-CE62-F7EC-CDA71E150720}"/>
          </ac:spMkLst>
        </pc:spChg>
        <pc:spChg chg="del">
          <ac:chgData name="Fatma Alsagaf" userId="ef587b5e-378a-4bb3-aa9f-3c15b98138a4" providerId="ADAL" clId="{EA3EF6B8-8642-4B5F-8380-9CD710A0C079}" dt="2023-08-14T11:24:46.736" v="1" actId="478"/>
          <ac:spMkLst>
            <pc:docMk/>
            <pc:sldMk cId="2463444985" sldId="2147377175"/>
            <ac:spMk id="1087" creationId="{D62CA72B-6CB0-AA83-297B-433EC89B09C7}"/>
          </ac:spMkLst>
        </pc:spChg>
        <pc:grpChg chg="add del mod">
          <ac:chgData name="Fatma Alsagaf" userId="ef587b5e-378a-4bb3-aa9f-3c15b98138a4" providerId="ADAL" clId="{EA3EF6B8-8642-4B5F-8380-9CD710A0C079}" dt="2023-08-15T09:46:43.158" v="2021"/>
          <ac:grpSpMkLst>
            <pc:docMk/>
            <pc:sldMk cId="2463444985" sldId="2147377175"/>
            <ac:grpSpMk id="3" creationId="{21EDEDFC-C745-90EE-82B0-4BADADF939E9}"/>
          </ac:grpSpMkLst>
        </pc:grpChg>
        <pc:grpChg chg="add del mod">
          <ac:chgData name="Fatma Alsagaf" userId="ef587b5e-378a-4bb3-aa9f-3c15b98138a4" providerId="ADAL" clId="{EA3EF6B8-8642-4B5F-8380-9CD710A0C079}" dt="2023-08-14T11:24:53.447" v="3"/>
          <ac:grpSpMkLst>
            <pc:docMk/>
            <pc:sldMk cId="2463444985" sldId="2147377175"/>
            <ac:grpSpMk id="5" creationId="{707D1D8E-3DC0-ADCD-753C-0457D6777099}"/>
          </ac:grpSpMkLst>
        </pc:grpChg>
        <pc:grpChg chg="mod">
          <ac:chgData name="Fatma Alsagaf" userId="ef587b5e-378a-4bb3-aa9f-3c15b98138a4" providerId="ADAL" clId="{EA3EF6B8-8642-4B5F-8380-9CD710A0C079}" dt="2023-08-15T09:46:42.293" v="2020"/>
          <ac:grpSpMkLst>
            <pc:docMk/>
            <pc:sldMk cId="2463444985" sldId="2147377175"/>
            <ac:grpSpMk id="5" creationId="{AFDBB62F-168C-DA54-0E83-C9B685C38643}"/>
          </ac:grpSpMkLst>
        </pc:grpChg>
        <pc:grpChg chg="mod">
          <ac:chgData name="Fatma Alsagaf" userId="ef587b5e-378a-4bb3-aa9f-3c15b98138a4" providerId="ADAL" clId="{EA3EF6B8-8642-4B5F-8380-9CD710A0C079}" dt="2023-08-15T09:46:42.293" v="2020"/>
          <ac:grpSpMkLst>
            <pc:docMk/>
            <pc:sldMk cId="2463444985" sldId="2147377175"/>
            <ac:grpSpMk id="6" creationId="{B11D9159-8717-3292-688E-98416AC06EC3}"/>
          </ac:grpSpMkLst>
        </pc:grpChg>
        <pc:grpChg chg="add mod">
          <ac:chgData name="Fatma Alsagaf" userId="ef587b5e-378a-4bb3-aa9f-3c15b98138a4" providerId="ADAL" clId="{EA3EF6B8-8642-4B5F-8380-9CD710A0C079}" dt="2023-08-15T09:52:27.290" v="2105" actId="164"/>
          <ac:grpSpMkLst>
            <pc:docMk/>
            <pc:sldMk cId="2463444985" sldId="2147377175"/>
            <ac:grpSpMk id="16" creationId="{9DCEADF8-12B7-97F8-51E5-7B88BDCC3050}"/>
          </ac:grpSpMkLst>
        </pc:grpChg>
        <pc:grpChg chg="add del mod">
          <ac:chgData name="Fatma Alsagaf" userId="ef587b5e-378a-4bb3-aa9f-3c15b98138a4" providerId="ADAL" clId="{EA3EF6B8-8642-4B5F-8380-9CD710A0C079}" dt="2023-08-15T11:40:23.111" v="2579" actId="478"/>
          <ac:grpSpMkLst>
            <pc:docMk/>
            <pc:sldMk cId="2463444985" sldId="2147377175"/>
            <ac:grpSpMk id="26" creationId="{0363DD41-DA23-FD98-C85C-4632FFF78CB6}"/>
          </ac:grpSpMkLst>
        </pc:grpChg>
        <pc:grpChg chg="mod">
          <ac:chgData name="Fatma Alsagaf" userId="ef587b5e-378a-4bb3-aa9f-3c15b98138a4" providerId="ADAL" clId="{EA3EF6B8-8642-4B5F-8380-9CD710A0C079}" dt="2023-08-15T09:50:24.026" v="2083"/>
          <ac:grpSpMkLst>
            <pc:docMk/>
            <pc:sldMk cId="2463444985" sldId="2147377175"/>
            <ac:grpSpMk id="27" creationId="{AFA63010-C851-C3AC-4676-75DE76FE0F08}"/>
          </ac:grpSpMkLst>
        </pc:grpChg>
        <pc:grpChg chg="add del mod">
          <ac:chgData name="Fatma Alsagaf" userId="ef587b5e-378a-4bb3-aa9f-3c15b98138a4" providerId="ADAL" clId="{EA3EF6B8-8642-4B5F-8380-9CD710A0C079}" dt="2023-08-14T11:26:24.033" v="24"/>
          <ac:grpSpMkLst>
            <pc:docMk/>
            <pc:sldMk cId="2463444985" sldId="2147377175"/>
            <ac:grpSpMk id="28" creationId="{7598CE4D-7742-FCBE-3F63-9214B87E5528}"/>
          </ac:grpSpMkLst>
        </pc:grpChg>
        <pc:grpChg chg="mod">
          <ac:chgData name="Fatma Alsagaf" userId="ef587b5e-378a-4bb3-aa9f-3c15b98138a4" providerId="ADAL" clId="{EA3EF6B8-8642-4B5F-8380-9CD710A0C079}" dt="2023-08-15T09:50:24.026" v="2083"/>
          <ac:grpSpMkLst>
            <pc:docMk/>
            <pc:sldMk cId="2463444985" sldId="2147377175"/>
            <ac:grpSpMk id="48" creationId="{2FB4A035-E339-52E0-942A-2C4D98CC0824}"/>
          </ac:grpSpMkLst>
        </pc:grpChg>
        <pc:grpChg chg="add mod">
          <ac:chgData name="Fatma Alsagaf" userId="ef587b5e-378a-4bb3-aa9f-3c15b98138a4" providerId="ADAL" clId="{EA3EF6B8-8642-4B5F-8380-9CD710A0C079}" dt="2023-08-15T09:51:14.098" v="2097" actId="164"/>
          <ac:grpSpMkLst>
            <pc:docMk/>
            <pc:sldMk cId="2463444985" sldId="2147377175"/>
            <ac:grpSpMk id="51" creationId="{3DFAC72A-BBAC-F0A2-4ABC-584E08251EF8}"/>
          </ac:grpSpMkLst>
        </pc:grpChg>
        <pc:grpChg chg="add mod">
          <ac:chgData name="Fatma Alsagaf" userId="ef587b5e-378a-4bb3-aa9f-3c15b98138a4" providerId="ADAL" clId="{EA3EF6B8-8642-4B5F-8380-9CD710A0C079}" dt="2023-08-15T11:40:29.042" v="2582" actId="1076"/>
          <ac:grpSpMkLst>
            <pc:docMk/>
            <pc:sldMk cId="2463444985" sldId="2147377175"/>
            <ac:grpSpMk id="52" creationId="{B0373D89-8EE5-6205-9CF1-7648971911B5}"/>
          </ac:grpSpMkLst>
        </pc:grpChg>
        <pc:grpChg chg="del">
          <ac:chgData name="Fatma Alsagaf" userId="ef587b5e-378a-4bb3-aa9f-3c15b98138a4" providerId="ADAL" clId="{EA3EF6B8-8642-4B5F-8380-9CD710A0C079}" dt="2023-08-14T11:24:46.736" v="1" actId="478"/>
          <ac:grpSpMkLst>
            <pc:docMk/>
            <pc:sldMk cId="2463444985" sldId="2147377175"/>
            <ac:grpSpMk id="86" creationId="{C80E072A-8B60-3B12-4760-71B8E2E8E92E}"/>
          </ac:grpSpMkLst>
        </pc:grpChg>
        <pc:grpChg chg="del">
          <ac:chgData name="Fatma Alsagaf" userId="ef587b5e-378a-4bb3-aa9f-3c15b98138a4" providerId="ADAL" clId="{EA3EF6B8-8642-4B5F-8380-9CD710A0C079}" dt="2023-08-14T11:24:46.736" v="1" actId="478"/>
          <ac:grpSpMkLst>
            <pc:docMk/>
            <pc:sldMk cId="2463444985" sldId="2147377175"/>
            <ac:grpSpMk id="1031" creationId="{61345BDD-B9EB-294E-4D1D-BD26FF26BE05}"/>
          </ac:grpSpMkLst>
        </pc:grpChg>
        <pc:grpChg chg="del">
          <ac:chgData name="Fatma Alsagaf" userId="ef587b5e-378a-4bb3-aa9f-3c15b98138a4" providerId="ADAL" clId="{EA3EF6B8-8642-4B5F-8380-9CD710A0C079}" dt="2023-08-14T11:24:46.736" v="1" actId="478"/>
          <ac:grpSpMkLst>
            <pc:docMk/>
            <pc:sldMk cId="2463444985" sldId="2147377175"/>
            <ac:grpSpMk id="1061" creationId="{3B4DFB95-DBCA-0A25-B08E-7542AB460D07}"/>
          </ac:grpSpMkLst>
        </pc:grpChg>
        <pc:graphicFrameChg chg="add mod modGraphic">
          <ac:chgData name="Fatma Alsagaf" userId="ef587b5e-378a-4bb3-aa9f-3c15b98138a4" providerId="ADAL" clId="{EA3EF6B8-8642-4B5F-8380-9CD710A0C079}" dt="2023-08-15T11:44:05.593" v="2617" actId="20577"/>
          <ac:graphicFrameMkLst>
            <pc:docMk/>
            <pc:sldMk cId="2463444985" sldId="2147377175"/>
            <ac:graphicFrameMk id="102" creationId="{8303A161-518D-1552-049A-2A95D2E3648A}"/>
          </ac:graphicFrameMkLst>
        </pc:graphicFrameChg>
        <pc:graphicFrameChg chg="del">
          <ac:chgData name="Fatma Alsagaf" userId="ef587b5e-378a-4bb3-aa9f-3c15b98138a4" providerId="ADAL" clId="{EA3EF6B8-8642-4B5F-8380-9CD710A0C079}" dt="2023-08-14T11:24:46.736" v="1" actId="478"/>
          <ac:graphicFrameMkLst>
            <pc:docMk/>
            <pc:sldMk cId="2463444985" sldId="2147377175"/>
            <ac:graphicFrameMk id="1045" creationId="{06FEE8E5-02F4-C8F2-6E1B-9A78D31B3749}"/>
          </ac:graphicFrameMkLst>
        </pc:graphicFrameChg>
        <pc:graphicFrameChg chg="del">
          <ac:chgData name="Fatma Alsagaf" userId="ef587b5e-378a-4bb3-aa9f-3c15b98138a4" providerId="ADAL" clId="{EA3EF6B8-8642-4B5F-8380-9CD710A0C079}" dt="2023-08-14T11:24:46.736" v="1" actId="478"/>
          <ac:graphicFrameMkLst>
            <pc:docMk/>
            <pc:sldMk cId="2463444985" sldId="2147377175"/>
            <ac:graphicFrameMk id="1046" creationId="{0B8726B4-6397-984F-B13F-861A6956900F}"/>
          </ac:graphicFrameMkLst>
        </pc:graphicFrameChg>
        <pc:picChg chg="add del mod">
          <ac:chgData name="Fatma Alsagaf" userId="ef587b5e-378a-4bb3-aa9f-3c15b98138a4" providerId="ADAL" clId="{EA3EF6B8-8642-4B5F-8380-9CD710A0C079}" dt="2023-08-14T11:27:50.279" v="34"/>
          <ac:picMkLst>
            <pc:docMk/>
            <pc:sldMk cId="2463444985" sldId="2147377175"/>
            <ac:picMk id="46" creationId="{D221DFB0-8365-4FEB-1196-AB618AD497E6}"/>
          </ac:picMkLst>
        </pc:picChg>
        <pc:picChg chg="add mod">
          <ac:chgData name="Fatma Alsagaf" userId="ef587b5e-378a-4bb3-aa9f-3c15b98138a4" providerId="ADAL" clId="{EA3EF6B8-8642-4B5F-8380-9CD710A0C079}" dt="2023-08-15T09:52:27.290" v="2105" actId="164"/>
          <ac:picMkLst>
            <pc:docMk/>
            <pc:sldMk cId="2463444985" sldId="2147377175"/>
            <ac:picMk id="47" creationId="{F8D2CD67-7E35-8092-9F37-FC28F7046D3A}"/>
          </ac:picMkLst>
        </pc:picChg>
        <pc:picChg chg="del">
          <ac:chgData name="Fatma Alsagaf" userId="ef587b5e-378a-4bb3-aa9f-3c15b98138a4" providerId="ADAL" clId="{EA3EF6B8-8642-4B5F-8380-9CD710A0C079}" dt="2023-08-14T11:24:46.736" v="1" actId="478"/>
          <ac:picMkLst>
            <pc:docMk/>
            <pc:sldMk cId="2463444985" sldId="2147377175"/>
            <ac:picMk id="69" creationId="{B96DF8B2-E391-F9E3-8131-F181D0F06E59}"/>
          </ac:picMkLst>
        </pc:picChg>
        <pc:picChg chg="del">
          <ac:chgData name="Fatma Alsagaf" userId="ef587b5e-378a-4bb3-aa9f-3c15b98138a4" providerId="ADAL" clId="{EA3EF6B8-8642-4B5F-8380-9CD710A0C079}" dt="2023-08-14T11:24:46.736" v="1" actId="478"/>
          <ac:picMkLst>
            <pc:docMk/>
            <pc:sldMk cId="2463444985" sldId="2147377175"/>
            <ac:picMk id="1026" creationId="{ED3B8F12-EFE3-D06C-E07F-5C1C43EFD26B}"/>
          </ac:picMkLst>
        </pc:picChg>
        <pc:picChg chg="del">
          <ac:chgData name="Fatma Alsagaf" userId="ef587b5e-378a-4bb3-aa9f-3c15b98138a4" providerId="ADAL" clId="{EA3EF6B8-8642-4B5F-8380-9CD710A0C079}" dt="2023-08-14T11:24:46.736" v="1" actId="478"/>
          <ac:picMkLst>
            <pc:docMk/>
            <pc:sldMk cId="2463444985" sldId="2147377175"/>
            <ac:picMk id="1030" creationId="{FD434694-9BFA-5746-BCF0-456DEFDFB7CF}"/>
          </ac:picMkLst>
        </pc:picChg>
        <pc:picChg chg="del">
          <ac:chgData name="Fatma Alsagaf" userId="ef587b5e-378a-4bb3-aa9f-3c15b98138a4" providerId="ADAL" clId="{EA3EF6B8-8642-4B5F-8380-9CD710A0C079}" dt="2023-08-14T11:24:46.736" v="1" actId="478"/>
          <ac:picMkLst>
            <pc:docMk/>
            <pc:sldMk cId="2463444985" sldId="2147377175"/>
            <ac:picMk id="1032" creationId="{5FF67296-11AD-0C1E-1207-F315D7C9BE43}"/>
          </ac:picMkLst>
        </pc:picChg>
        <pc:picChg chg="del">
          <ac:chgData name="Fatma Alsagaf" userId="ef587b5e-378a-4bb3-aa9f-3c15b98138a4" providerId="ADAL" clId="{EA3EF6B8-8642-4B5F-8380-9CD710A0C079}" dt="2023-08-14T11:24:46.736" v="1" actId="478"/>
          <ac:picMkLst>
            <pc:docMk/>
            <pc:sldMk cId="2463444985" sldId="2147377175"/>
            <ac:picMk id="1036" creationId="{48B11E95-0146-FD4B-CCA7-702BF538DF71}"/>
          </ac:picMkLst>
        </pc:picChg>
        <pc:cxnChg chg="del">
          <ac:chgData name="Fatma Alsagaf" userId="ef587b5e-378a-4bb3-aa9f-3c15b98138a4" providerId="ADAL" clId="{EA3EF6B8-8642-4B5F-8380-9CD710A0C079}" dt="2023-08-14T11:24:46.736" v="1" actId="478"/>
          <ac:cxnSpMkLst>
            <pc:docMk/>
            <pc:sldMk cId="2463444985" sldId="2147377175"/>
            <ac:cxnSpMk id="1072" creationId="{646B5755-F3C5-FCD4-4902-E65D314486C3}"/>
          </ac:cxnSpMkLst>
        </pc:cxnChg>
      </pc:sldChg>
      <pc:sldChg chg="addSp delSp modSp add del mod">
        <pc:chgData name="Fatma Alsagaf" userId="ef587b5e-378a-4bb3-aa9f-3c15b98138a4" providerId="ADAL" clId="{EA3EF6B8-8642-4B5F-8380-9CD710A0C079}" dt="2023-08-15T11:05:20.294" v="2479" actId="47"/>
        <pc:sldMkLst>
          <pc:docMk/>
          <pc:sldMk cId="543438682" sldId="2147377176"/>
        </pc:sldMkLst>
        <pc:spChg chg="add del mod">
          <ac:chgData name="Fatma Alsagaf" userId="ef587b5e-378a-4bb3-aa9f-3c15b98138a4" providerId="ADAL" clId="{EA3EF6B8-8642-4B5F-8380-9CD710A0C079}" dt="2023-08-15T04:08:55.451" v="363" actId="478"/>
          <ac:spMkLst>
            <pc:docMk/>
            <pc:sldMk cId="543438682" sldId="2147377176"/>
            <ac:spMk id="3" creationId="{BA547E98-C27D-C809-B67D-768358127A72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23" creationId="{759906D1-7E57-1F88-F53D-9F5C703BAA91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24" creationId="{6F0DCDCB-70B1-F67A-1B8B-1CE6CE5F16EA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25" creationId="{8B1E041A-8BB4-F9F2-F6E2-1A4C7B9ACDC5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43" creationId="{1A3C44F1-75D8-0D14-0C54-F7775DD5507C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44" creationId="{16D1CB68-BE17-0493-502F-A8468618B270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45" creationId="{4A53C9D9-49D2-DACD-E902-598A6BC39408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66" creationId="{2C8A125F-183C-519D-3AA5-20BCC4BA5E6E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67" creationId="{372D12B6-D013-4D78-48D7-EA727B5B327F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70" creationId="{C22544F2-76BD-FFAD-20E7-444731841A92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71" creationId="{45C240A4-7A6F-37EF-9A3E-A7AAA19C3956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76" creationId="{207B8D3E-61CB-7BDA-FE63-389ECE3341F3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77" creationId="{67874B51-B8EA-8C4C-9681-A238A47CE322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78" creationId="{3E264094-A6B8-14B3-FDE6-ED16B6E88CF0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79" creationId="{4E706CF8-BD8C-E08C-08F7-C0E713CAD147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96" creationId="{406CB4E1-E1F6-F157-6E51-744567B9511B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97" creationId="{A966508A-9F14-396A-D0E7-59B25AF8AAD5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98" creationId="{2F4B47AA-658F-DA50-3B87-8A90C89C28EF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99" creationId="{816A9E13-0205-8589-18F1-C0E1BCCA7EEB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101" creationId="{6F91CD83-CBC3-EC2C-4354-91B6A092A194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114" creationId="{18A99D97-6065-BF9A-9ABD-5231CC040B8E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115" creationId="{62356A68-B70E-D4A6-BE07-445117F6E850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116" creationId="{302A8F10-4B69-61C4-F991-B9F34509767A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117" creationId="{387A4F43-9943-B361-785A-799D9D1D2696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118" creationId="{7269EE49-3D93-E25A-CBCF-201F80B8DDE5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124" creationId="{AB84FC99-B5E2-0B44-3DAF-E97A0350C489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125" creationId="{2C035CF7-8496-EF20-2902-E171E8CA5A98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126" creationId="{E4AF11FA-56C0-5D04-ABF4-DEEFD737516F}"/>
          </ac:spMkLst>
        </pc:spChg>
        <pc:spChg chg="del">
          <ac:chgData name="Fatma Alsagaf" userId="ef587b5e-378a-4bb3-aa9f-3c15b98138a4" providerId="ADAL" clId="{EA3EF6B8-8642-4B5F-8380-9CD710A0C079}" dt="2023-08-14T12:43:42.193" v="358" actId="478"/>
          <ac:spMkLst>
            <pc:docMk/>
            <pc:sldMk cId="543438682" sldId="2147377176"/>
            <ac:spMk id="127" creationId="{57EB4B87-2360-D57C-3957-6D6B852BF4E9}"/>
          </ac:spMkLst>
        </pc:spChg>
        <pc:grpChg chg="del">
          <ac:chgData name="Fatma Alsagaf" userId="ef587b5e-378a-4bb3-aa9f-3c15b98138a4" providerId="ADAL" clId="{EA3EF6B8-8642-4B5F-8380-9CD710A0C079}" dt="2023-08-14T12:43:42.193" v="358" actId="478"/>
          <ac:grpSpMkLst>
            <pc:docMk/>
            <pc:sldMk cId="543438682" sldId="2147377176"/>
            <ac:grpSpMk id="16" creationId="{9DCEADF8-12B7-97F8-51E5-7B88BDCC3050}"/>
          </ac:grpSpMkLst>
        </pc:grpChg>
        <pc:graphicFrameChg chg="add mod modGraphic">
          <ac:chgData name="Fatma Alsagaf" userId="ef587b5e-378a-4bb3-aa9f-3c15b98138a4" providerId="ADAL" clId="{EA3EF6B8-8642-4B5F-8380-9CD710A0C079}" dt="2023-08-15T04:13:10.753" v="537" actId="122"/>
          <ac:graphicFrameMkLst>
            <pc:docMk/>
            <pc:sldMk cId="543438682" sldId="2147377176"/>
            <ac:graphicFrameMk id="4" creationId="{6D277931-B695-8318-A90F-0C9695DD9BA6}"/>
          </ac:graphicFrameMkLst>
        </pc:graphicFrameChg>
        <pc:graphicFrameChg chg="del">
          <ac:chgData name="Fatma Alsagaf" userId="ef587b5e-378a-4bb3-aa9f-3c15b98138a4" providerId="ADAL" clId="{EA3EF6B8-8642-4B5F-8380-9CD710A0C079}" dt="2023-08-14T12:43:42.193" v="358" actId="478"/>
          <ac:graphicFrameMkLst>
            <pc:docMk/>
            <pc:sldMk cId="543438682" sldId="2147377176"/>
            <ac:graphicFrameMk id="102" creationId="{8303A161-518D-1552-049A-2A95D2E3648A}"/>
          </ac:graphicFrameMkLst>
        </pc:graphicFrameChg>
        <pc:picChg chg="del">
          <ac:chgData name="Fatma Alsagaf" userId="ef587b5e-378a-4bb3-aa9f-3c15b98138a4" providerId="ADAL" clId="{EA3EF6B8-8642-4B5F-8380-9CD710A0C079}" dt="2023-08-14T12:43:42.193" v="358" actId="478"/>
          <ac:picMkLst>
            <pc:docMk/>
            <pc:sldMk cId="543438682" sldId="2147377176"/>
            <ac:picMk id="47" creationId="{F8D2CD67-7E35-8092-9F37-FC28F7046D3A}"/>
          </ac:picMkLst>
        </pc:picChg>
      </pc:sldChg>
      <pc:sldChg chg="addSp delSp modSp add del mod">
        <pc:chgData name="Fatma Alsagaf" userId="ef587b5e-378a-4bb3-aa9f-3c15b98138a4" providerId="ADAL" clId="{EA3EF6B8-8642-4B5F-8380-9CD710A0C079}" dt="2023-08-15T11:05:18.018" v="2478" actId="47"/>
        <pc:sldMkLst>
          <pc:docMk/>
          <pc:sldMk cId="304849318" sldId="2147377177"/>
        </pc:sldMkLst>
        <pc:spChg chg="add del mod">
          <ac:chgData name="Fatma Alsagaf" userId="ef587b5e-378a-4bb3-aa9f-3c15b98138a4" providerId="ADAL" clId="{EA3EF6B8-8642-4B5F-8380-9CD710A0C079}" dt="2023-08-15T04:20:40.724" v="542"/>
          <ac:spMkLst>
            <pc:docMk/>
            <pc:sldMk cId="304849318" sldId="2147377177"/>
            <ac:spMk id="3" creationId="{FBDD9A23-3533-E91E-2CE0-A564D6FE3577}"/>
          </ac:spMkLst>
        </pc:spChg>
        <pc:spChg chg="add del mod">
          <ac:chgData name="Fatma Alsagaf" userId="ef587b5e-378a-4bb3-aa9f-3c15b98138a4" providerId="ADAL" clId="{EA3EF6B8-8642-4B5F-8380-9CD710A0C079}" dt="2023-08-15T04:20:40.724" v="542"/>
          <ac:spMkLst>
            <pc:docMk/>
            <pc:sldMk cId="304849318" sldId="2147377177"/>
            <ac:spMk id="5" creationId="{76B7A761-EEBE-DB4D-0913-4B948080686A}"/>
          </ac:spMkLst>
        </pc:spChg>
        <pc:spChg chg="add del mod">
          <ac:chgData name="Fatma Alsagaf" userId="ef587b5e-378a-4bb3-aa9f-3c15b98138a4" providerId="ADAL" clId="{EA3EF6B8-8642-4B5F-8380-9CD710A0C079}" dt="2023-08-15T04:20:40.724" v="542"/>
          <ac:spMkLst>
            <pc:docMk/>
            <pc:sldMk cId="304849318" sldId="2147377177"/>
            <ac:spMk id="6" creationId="{E680597A-DD48-51B7-F6C6-C82CDA14B00F}"/>
          </ac:spMkLst>
        </pc:spChg>
        <pc:spChg chg="add del mod">
          <ac:chgData name="Fatma Alsagaf" userId="ef587b5e-378a-4bb3-aa9f-3c15b98138a4" providerId="ADAL" clId="{EA3EF6B8-8642-4B5F-8380-9CD710A0C079}" dt="2023-08-15T04:20:40.724" v="542"/>
          <ac:spMkLst>
            <pc:docMk/>
            <pc:sldMk cId="304849318" sldId="2147377177"/>
            <ac:spMk id="7" creationId="{8E350669-4A48-8048-87A4-08C0F1AC615E}"/>
          </ac:spMkLst>
        </pc:spChg>
        <pc:spChg chg="add del mod">
          <ac:chgData name="Fatma Alsagaf" userId="ef587b5e-378a-4bb3-aa9f-3c15b98138a4" providerId="ADAL" clId="{EA3EF6B8-8642-4B5F-8380-9CD710A0C079}" dt="2023-08-15T04:20:40.724" v="542"/>
          <ac:spMkLst>
            <pc:docMk/>
            <pc:sldMk cId="304849318" sldId="2147377177"/>
            <ac:spMk id="8" creationId="{D0DA372A-90D3-D11E-36B8-A0FF395C7605}"/>
          </ac:spMkLst>
        </pc:spChg>
        <pc:spChg chg="add mod">
          <ac:chgData name="Fatma Alsagaf" userId="ef587b5e-378a-4bb3-aa9f-3c15b98138a4" providerId="ADAL" clId="{EA3EF6B8-8642-4B5F-8380-9CD710A0C079}" dt="2023-08-15T04:20:40.724" v="543"/>
          <ac:spMkLst>
            <pc:docMk/>
            <pc:sldMk cId="304849318" sldId="2147377177"/>
            <ac:spMk id="9" creationId="{CFF463D1-F85C-3026-AE94-745860502A5A}"/>
          </ac:spMkLst>
        </pc:spChg>
        <pc:spChg chg="add mod">
          <ac:chgData name="Fatma Alsagaf" userId="ef587b5e-378a-4bb3-aa9f-3c15b98138a4" providerId="ADAL" clId="{EA3EF6B8-8642-4B5F-8380-9CD710A0C079}" dt="2023-08-15T04:20:40.724" v="543"/>
          <ac:spMkLst>
            <pc:docMk/>
            <pc:sldMk cId="304849318" sldId="2147377177"/>
            <ac:spMk id="10" creationId="{DF9B27BB-6C65-2D91-7E10-F048A739BA28}"/>
          </ac:spMkLst>
        </pc:spChg>
        <pc:spChg chg="del">
          <ac:chgData name="Fatma Alsagaf" userId="ef587b5e-378a-4bb3-aa9f-3c15b98138a4" providerId="ADAL" clId="{EA3EF6B8-8642-4B5F-8380-9CD710A0C079}" dt="2023-08-15T04:20:16.163" v="539" actId="478"/>
          <ac:spMkLst>
            <pc:docMk/>
            <pc:sldMk cId="304849318" sldId="2147377177"/>
            <ac:spMk id="11" creationId="{9291974D-94F5-468A-87AC-B7EFF95696CC}"/>
          </ac:spMkLst>
        </pc:spChg>
        <pc:spChg chg="add mod">
          <ac:chgData name="Fatma Alsagaf" userId="ef587b5e-378a-4bb3-aa9f-3c15b98138a4" providerId="ADAL" clId="{EA3EF6B8-8642-4B5F-8380-9CD710A0C079}" dt="2023-08-15T04:20:40.724" v="543"/>
          <ac:spMkLst>
            <pc:docMk/>
            <pc:sldMk cId="304849318" sldId="2147377177"/>
            <ac:spMk id="12" creationId="{E229DFFF-CD45-443B-EC49-6D628D75EDA4}"/>
          </ac:spMkLst>
        </pc:spChg>
        <pc:spChg chg="add mod">
          <ac:chgData name="Fatma Alsagaf" userId="ef587b5e-378a-4bb3-aa9f-3c15b98138a4" providerId="ADAL" clId="{EA3EF6B8-8642-4B5F-8380-9CD710A0C079}" dt="2023-08-15T04:20:40.724" v="543"/>
          <ac:spMkLst>
            <pc:docMk/>
            <pc:sldMk cId="304849318" sldId="2147377177"/>
            <ac:spMk id="13" creationId="{85EB8C6C-0441-1D5A-5AFC-10BC826F0062}"/>
          </ac:spMkLst>
        </pc:spChg>
        <pc:spChg chg="add mod">
          <ac:chgData name="Fatma Alsagaf" userId="ef587b5e-378a-4bb3-aa9f-3c15b98138a4" providerId="ADAL" clId="{EA3EF6B8-8642-4B5F-8380-9CD710A0C079}" dt="2023-08-15T04:20:40.724" v="543"/>
          <ac:spMkLst>
            <pc:docMk/>
            <pc:sldMk cId="304849318" sldId="2147377177"/>
            <ac:spMk id="14" creationId="{ADFA506D-0BA4-B917-5D82-FECD8E7B9188}"/>
          </ac:spMkLst>
        </pc:spChg>
        <pc:graphicFrameChg chg="del">
          <ac:chgData name="Fatma Alsagaf" userId="ef587b5e-378a-4bb3-aa9f-3c15b98138a4" providerId="ADAL" clId="{EA3EF6B8-8642-4B5F-8380-9CD710A0C079}" dt="2023-08-15T04:20:21.900" v="540" actId="478"/>
          <ac:graphicFrameMkLst>
            <pc:docMk/>
            <pc:sldMk cId="304849318" sldId="2147377177"/>
            <ac:graphicFrameMk id="4" creationId="{6D277931-B695-8318-A90F-0C9695DD9BA6}"/>
          </ac:graphicFrameMkLst>
        </pc:graphicFrameChg>
      </pc:sldChg>
      <pc:sldChg chg="addSp delSp modSp add mod">
        <pc:chgData name="Fatma Alsagaf" userId="ef587b5e-378a-4bb3-aa9f-3c15b98138a4" providerId="ADAL" clId="{EA3EF6B8-8642-4B5F-8380-9CD710A0C079}" dt="2023-08-15T11:03:41.755" v="2475" actId="572"/>
        <pc:sldMkLst>
          <pc:docMk/>
          <pc:sldMk cId="884389446" sldId="2147377178"/>
        </pc:sldMkLst>
        <pc:spChg chg="add del">
          <ac:chgData name="Fatma Alsagaf" userId="ef587b5e-378a-4bb3-aa9f-3c15b98138a4" providerId="ADAL" clId="{EA3EF6B8-8642-4B5F-8380-9CD710A0C079}" dt="2023-08-15T04:43:06.084" v="554" actId="478"/>
          <ac:spMkLst>
            <pc:docMk/>
            <pc:sldMk cId="884389446" sldId="2147377178"/>
            <ac:spMk id="2" creationId="{CA98AD67-5AA4-441A-BB82-472C288413F8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3" creationId="{485626CD-E249-FB16-6E7A-3C0C25C86F16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4" creationId="{EBE5D750-BD80-1B8D-FA3C-816DC0D206DB}"/>
          </ac:spMkLst>
        </pc:spChg>
        <pc:spChg chg="add del mod">
          <ac:chgData name="Fatma Alsagaf" userId="ef587b5e-378a-4bb3-aa9f-3c15b98138a4" providerId="ADAL" clId="{EA3EF6B8-8642-4B5F-8380-9CD710A0C079}" dt="2023-08-15T04:43:02.881" v="552" actId="478"/>
          <ac:spMkLst>
            <pc:docMk/>
            <pc:sldMk cId="884389446" sldId="2147377178"/>
            <ac:spMk id="5" creationId="{E48DD31F-5437-106A-A356-5AEC246F2821}"/>
          </ac:spMkLst>
        </pc:spChg>
        <pc:spChg chg="add del mod">
          <ac:chgData name="Fatma Alsagaf" userId="ef587b5e-378a-4bb3-aa9f-3c15b98138a4" providerId="ADAL" clId="{EA3EF6B8-8642-4B5F-8380-9CD710A0C079}" dt="2023-08-15T04:43:06.084" v="554" actId="478"/>
          <ac:spMkLst>
            <pc:docMk/>
            <pc:sldMk cId="884389446" sldId="2147377178"/>
            <ac:spMk id="6" creationId="{F54479AC-0F9B-C405-6C94-9116FAA6A2F7}"/>
          </ac:spMkLst>
        </pc:spChg>
        <pc:spChg chg="del">
          <ac:chgData name="Fatma Alsagaf" userId="ef587b5e-378a-4bb3-aa9f-3c15b98138a4" providerId="ADAL" clId="{EA3EF6B8-8642-4B5F-8380-9CD710A0C079}" dt="2023-08-15T04:38:40.345" v="546" actId="478"/>
          <ac:spMkLst>
            <pc:docMk/>
            <pc:sldMk cId="884389446" sldId="2147377178"/>
            <ac:spMk id="8" creationId="{AEB6459A-D894-73AC-2BAE-F4884D075066}"/>
          </ac:spMkLst>
        </pc:spChg>
        <pc:spChg chg="add del mod">
          <ac:chgData name="Fatma Alsagaf" userId="ef587b5e-378a-4bb3-aa9f-3c15b98138a4" providerId="ADAL" clId="{EA3EF6B8-8642-4B5F-8380-9CD710A0C079}" dt="2023-08-15T04:58:59.556" v="788" actId="478"/>
          <ac:spMkLst>
            <pc:docMk/>
            <pc:sldMk cId="884389446" sldId="2147377178"/>
            <ac:spMk id="9" creationId="{39A36C49-922B-ED1D-7E68-884D17E54BCE}"/>
          </ac:spMkLst>
        </pc:spChg>
        <pc:spChg chg="del mod">
          <ac:chgData name="Fatma Alsagaf" userId="ef587b5e-378a-4bb3-aa9f-3c15b98138a4" providerId="ADAL" clId="{EA3EF6B8-8642-4B5F-8380-9CD710A0C079}" dt="2023-08-15T04:58:59.556" v="788" actId="478"/>
          <ac:spMkLst>
            <pc:docMk/>
            <pc:sldMk cId="884389446" sldId="2147377178"/>
            <ac:spMk id="10" creationId="{A6D9A14F-94BD-8B56-985C-E44624E43492}"/>
          </ac:spMkLst>
        </pc:spChg>
        <pc:spChg chg="add del mod">
          <ac:chgData name="Fatma Alsagaf" userId="ef587b5e-378a-4bb3-aa9f-3c15b98138a4" providerId="ADAL" clId="{EA3EF6B8-8642-4B5F-8380-9CD710A0C079}" dt="2023-08-15T10:41:53.969" v="2356" actId="1076"/>
          <ac:spMkLst>
            <pc:docMk/>
            <pc:sldMk cId="884389446" sldId="2147377178"/>
            <ac:spMk id="11" creationId="{9291974D-94F5-468A-87AC-B7EFF95696CC}"/>
          </ac:spMkLst>
        </pc:spChg>
        <pc:spChg chg="add mod">
          <ac:chgData name="Fatma Alsagaf" userId="ef587b5e-378a-4bb3-aa9f-3c15b98138a4" providerId="ADAL" clId="{EA3EF6B8-8642-4B5F-8380-9CD710A0C079}" dt="2023-08-15T05:52:01.592" v="1226" actId="1076"/>
          <ac:spMkLst>
            <pc:docMk/>
            <pc:sldMk cId="884389446" sldId="2147377178"/>
            <ac:spMk id="12" creationId="{C75951E2-F848-47C6-14D3-D16A1F5CB9E8}"/>
          </ac:spMkLst>
        </pc:spChg>
        <pc:spChg chg="add del mod">
          <ac:chgData name="Fatma Alsagaf" userId="ef587b5e-378a-4bb3-aa9f-3c15b98138a4" providerId="ADAL" clId="{EA3EF6B8-8642-4B5F-8380-9CD710A0C079}" dt="2023-08-15T05:17:40.416" v="958" actId="478"/>
          <ac:spMkLst>
            <pc:docMk/>
            <pc:sldMk cId="884389446" sldId="2147377178"/>
            <ac:spMk id="14" creationId="{115F85E6-1CAE-7941-65AC-F3E499DB4C3E}"/>
          </ac:spMkLst>
        </pc:spChg>
        <pc:spChg chg="add del mod">
          <ac:chgData name="Fatma Alsagaf" userId="ef587b5e-378a-4bb3-aa9f-3c15b98138a4" providerId="ADAL" clId="{EA3EF6B8-8642-4B5F-8380-9CD710A0C079}" dt="2023-08-15T05:17:40.416" v="958" actId="478"/>
          <ac:spMkLst>
            <pc:docMk/>
            <pc:sldMk cId="884389446" sldId="2147377178"/>
            <ac:spMk id="15" creationId="{51B43EB8-6ADD-CF8B-130E-CBBD5A3682E4}"/>
          </ac:spMkLst>
        </pc:spChg>
        <pc:spChg chg="add del mod">
          <ac:chgData name="Fatma Alsagaf" userId="ef587b5e-378a-4bb3-aa9f-3c15b98138a4" providerId="ADAL" clId="{EA3EF6B8-8642-4B5F-8380-9CD710A0C079}" dt="2023-08-15T05:17:40.416" v="958" actId="478"/>
          <ac:spMkLst>
            <pc:docMk/>
            <pc:sldMk cId="884389446" sldId="2147377178"/>
            <ac:spMk id="16" creationId="{12AAFE02-82D5-D691-01B9-15B4C50C95D1}"/>
          </ac:spMkLst>
        </pc:spChg>
        <pc:spChg chg="add del mod">
          <ac:chgData name="Fatma Alsagaf" userId="ef587b5e-378a-4bb3-aa9f-3c15b98138a4" providerId="ADAL" clId="{EA3EF6B8-8642-4B5F-8380-9CD710A0C079}" dt="2023-08-15T05:17:40.416" v="958" actId="478"/>
          <ac:spMkLst>
            <pc:docMk/>
            <pc:sldMk cId="884389446" sldId="2147377178"/>
            <ac:spMk id="17" creationId="{4DF5444F-19AA-680F-AB33-C06B02E137A8}"/>
          </ac:spMkLst>
        </pc:spChg>
        <pc:spChg chg="add del mod">
          <ac:chgData name="Fatma Alsagaf" userId="ef587b5e-378a-4bb3-aa9f-3c15b98138a4" providerId="ADAL" clId="{EA3EF6B8-8642-4B5F-8380-9CD710A0C079}" dt="2023-08-15T05:53:24.717" v="1229" actId="478"/>
          <ac:spMkLst>
            <pc:docMk/>
            <pc:sldMk cId="884389446" sldId="2147377178"/>
            <ac:spMk id="18" creationId="{E0040A1E-BE88-8EA8-8FAC-26429D7CBA20}"/>
          </ac:spMkLst>
        </pc:spChg>
        <pc:spChg chg="add del mod">
          <ac:chgData name="Fatma Alsagaf" userId="ef587b5e-378a-4bb3-aa9f-3c15b98138a4" providerId="ADAL" clId="{EA3EF6B8-8642-4B5F-8380-9CD710A0C079}" dt="2023-08-15T05:53:24.717" v="1229" actId="478"/>
          <ac:spMkLst>
            <pc:docMk/>
            <pc:sldMk cId="884389446" sldId="2147377178"/>
            <ac:spMk id="19" creationId="{728FCD65-6B18-5F48-6913-CCE08EE9618D}"/>
          </ac:spMkLst>
        </pc:spChg>
        <pc:spChg chg="add mod">
          <ac:chgData name="Fatma Alsagaf" userId="ef587b5e-378a-4bb3-aa9f-3c15b98138a4" providerId="ADAL" clId="{EA3EF6B8-8642-4B5F-8380-9CD710A0C079}" dt="2023-08-15T05:13:25.968" v="866" actId="571"/>
          <ac:spMkLst>
            <pc:docMk/>
            <pc:sldMk cId="884389446" sldId="2147377178"/>
            <ac:spMk id="21" creationId="{D55DF60A-9790-FC3E-E2B7-E7C17C42B057}"/>
          </ac:spMkLst>
        </pc:spChg>
        <pc:spChg chg="add del mod">
          <ac:chgData name="Fatma Alsagaf" userId="ef587b5e-378a-4bb3-aa9f-3c15b98138a4" providerId="ADAL" clId="{EA3EF6B8-8642-4B5F-8380-9CD710A0C079}" dt="2023-08-15T05:15:48.208" v="901"/>
          <ac:spMkLst>
            <pc:docMk/>
            <pc:sldMk cId="884389446" sldId="2147377178"/>
            <ac:spMk id="22" creationId="{1C28070B-7AFD-D867-1B4D-2325FFED7B8B}"/>
          </ac:spMkLst>
        </pc:spChg>
        <pc:spChg chg="add del mod">
          <ac:chgData name="Fatma Alsagaf" userId="ef587b5e-378a-4bb3-aa9f-3c15b98138a4" providerId="ADAL" clId="{EA3EF6B8-8642-4B5F-8380-9CD710A0C079}" dt="2023-08-15T05:15:48.208" v="901"/>
          <ac:spMkLst>
            <pc:docMk/>
            <pc:sldMk cId="884389446" sldId="2147377178"/>
            <ac:spMk id="23" creationId="{0F9AA848-6291-58EA-CF6B-1A7CEF398517}"/>
          </ac:spMkLst>
        </pc:spChg>
        <pc:spChg chg="add del mod">
          <ac:chgData name="Fatma Alsagaf" userId="ef587b5e-378a-4bb3-aa9f-3c15b98138a4" providerId="ADAL" clId="{EA3EF6B8-8642-4B5F-8380-9CD710A0C079}" dt="2023-08-15T05:15:48.208" v="901"/>
          <ac:spMkLst>
            <pc:docMk/>
            <pc:sldMk cId="884389446" sldId="2147377178"/>
            <ac:spMk id="24" creationId="{012E14B6-879F-B0EE-9AA1-719F64CA4D08}"/>
          </ac:spMkLst>
        </pc:spChg>
        <pc:spChg chg="add del mod">
          <ac:chgData name="Fatma Alsagaf" userId="ef587b5e-378a-4bb3-aa9f-3c15b98138a4" providerId="ADAL" clId="{EA3EF6B8-8642-4B5F-8380-9CD710A0C079}" dt="2023-08-15T05:15:48.208" v="901"/>
          <ac:spMkLst>
            <pc:docMk/>
            <pc:sldMk cId="884389446" sldId="2147377178"/>
            <ac:spMk id="25" creationId="{F822B79C-A6B8-3BDB-270B-BF54ED00DEE9}"/>
          </ac:spMkLst>
        </pc:spChg>
        <pc:spChg chg="mod">
          <ac:chgData name="Fatma Alsagaf" userId="ef587b5e-378a-4bb3-aa9f-3c15b98138a4" providerId="ADAL" clId="{EA3EF6B8-8642-4B5F-8380-9CD710A0C079}" dt="2023-08-15T05:15:46.354" v="900"/>
          <ac:spMkLst>
            <pc:docMk/>
            <pc:sldMk cId="884389446" sldId="2147377178"/>
            <ac:spMk id="27" creationId="{F366B493-8FB0-ACA5-A092-58E4D8E19D2D}"/>
          </ac:spMkLst>
        </pc:spChg>
        <pc:spChg chg="mod">
          <ac:chgData name="Fatma Alsagaf" userId="ef587b5e-378a-4bb3-aa9f-3c15b98138a4" providerId="ADAL" clId="{EA3EF6B8-8642-4B5F-8380-9CD710A0C079}" dt="2023-08-15T05:15:46.354" v="900"/>
          <ac:spMkLst>
            <pc:docMk/>
            <pc:sldMk cId="884389446" sldId="2147377178"/>
            <ac:spMk id="28" creationId="{7C28E22D-AB95-2D31-985E-F066C245A1AC}"/>
          </ac:spMkLst>
        </pc:spChg>
        <pc:spChg chg="mod">
          <ac:chgData name="Fatma Alsagaf" userId="ef587b5e-378a-4bb3-aa9f-3c15b98138a4" providerId="ADAL" clId="{EA3EF6B8-8642-4B5F-8380-9CD710A0C079}" dt="2023-08-15T05:15:46.354" v="900"/>
          <ac:spMkLst>
            <pc:docMk/>
            <pc:sldMk cId="884389446" sldId="2147377178"/>
            <ac:spMk id="29" creationId="{B292F2BA-F229-5E6E-E309-2C782DF13F07}"/>
          </ac:spMkLst>
        </pc:spChg>
        <pc:spChg chg="add del mod">
          <ac:chgData name="Fatma Alsagaf" userId="ef587b5e-378a-4bb3-aa9f-3c15b98138a4" providerId="ADAL" clId="{EA3EF6B8-8642-4B5F-8380-9CD710A0C079}" dt="2023-08-15T05:15:48.208" v="901"/>
          <ac:spMkLst>
            <pc:docMk/>
            <pc:sldMk cId="884389446" sldId="2147377178"/>
            <ac:spMk id="30" creationId="{06721C14-45EE-0967-6227-89DA989BD78A}"/>
          </ac:spMkLst>
        </pc:spChg>
        <pc:spChg chg="add del mod">
          <ac:chgData name="Fatma Alsagaf" userId="ef587b5e-378a-4bb3-aa9f-3c15b98138a4" providerId="ADAL" clId="{EA3EF6B8-8642-4B5F-8380-9CD710A0C079}" dt="2023-08-15T05:15:48.208" v="901"/>
          <ac:spMkLst>
            <pc:docMk/>
            <pc:sldMk cId="884389446" sldId="2147377178"/>
            <ac:spMk id="31" creationId="{F0F07C6B-695D-D456-09FF-3ECE69A1EB71}"/>
          </ac:spMkLst>
        </pc:spChg>
        <pc:spChg chg="add del mod">
          <ac:chgData name="Fatma Alsagaf" userId="ef587b5e-378a-4bb3-aa9f-3c15b98138a4" providerId="ADAL" clId="{EA3EF6B8-8642-4B5F-8380-9CD710A0C079}" dt="2023-08-15T05:15:48.208" v="901"/>
          <ac:spMkLst>
            <pc:docMk/>
            <pc:sldMk cId="884389446" sldId="2147377178"/>
            <ac:spMk id="32" creationId="{584B0527-E501-5DE9-EB4F-0E6514D085CE}"/>
          </ac:spMkLst>
        </pc:spChg>
        <pc:spChg chg="add del mod">
          <ac:chgData name="Fatma Alsagaf" userId="ef587b5e-378a-4bb3-aa9f-3c15b98138a4" providerId="ADAL" clId="{EA3EF6B8-8642-4B5F-8380-9CD710A0C079}" dt="2023-08-15T05:28:11.115" v="1073" actId="478"/>
          <ac:spMkLst>
            <pc:docMk/>
            <pc:sldMk cId="884389446" sldId="2147377178"/>
            <ac:spMk id="33" creationId="{F0E5BAA9-E7EC-F30D-B600-F6CC46D77732}"/>
          </ac:spMkLst>
        </pc:spChg>
        <pc:spChg chg="add mod">
          <ac:chgData name="Fatma Alsagaf" userId="ef587b5e-378a-4bb3-aa9f-3c15b98138a4" providerId="ADAL" clId="{EA3EF6B8-8642-4B5F-8380-9CD710A0C079}" dt="2023-08-15T05:38:29.968" v="1149" actId="164"/>
          <ac:spMkLst>
            <pc:docMk/>
            <pc:sldMk cId="884389446" sldId="2147377178"/>
            <ac:spMk id="34" creationId="{D74B6E11-DA5D-C561-1D32-685376A749BC}"/>
          </ac:spMkLst>
        </pc:spChg>
        <pc:spChg chg="add mod">
          <ac:chgData name="Fatma Alsagaf" userId="ef587b5e-378a-4bb3-aa9f-3c15b98138a4" providerId="ADAL" clId="{EA3EF6B8-8642-4B5F-8380-9CD710A0C079}" dt="2023-08-15T05:35:50.272" v="1135" actId="207"/>
          <ac:spMkLst>
            <pc:docMk/>
            <pc:sldMk cId="884389446" sldId="2147377178"/>
            <ac:spMk id="35" creationId="{B344AD57-6E88-1319-CFC5-C1465B992BA3}"/>
          </ac:spMkLst>
        </pc:spChg>
        <pc:spChg chg="add mod">
          <ac:chgData name="Fatma Alsagaf" userId="ef587b5e-378a-4bb3-aa9f-3c15b98138a4" providerId="ADAL" clId="{EA3EF6B8-8642-4B5F-8380-9CD710A0C079}" dt="2023-08-15T05:34:00.868" v="1117" actId="164"/>
          <ac:spMkLst>
            <pc:docMk/>
            <pc:sldMk cId="884389446" sldId="2147377178"/>
            <ac:spMk id="36" creationId="{2B6365D3-0F38-CF9F-3C53-13FAACDA3700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38" creationId="{9A114FFE-7578-C8EB-6458-53C7F58CDBCC}"/>
          </ac:spMkLst>
        </pc:spChg>
        <pc:spChg chg="mod">
          <ac:chgData name="Fatma Alsagaf" userId="ef587b5e-378a-4bb3-aa9f-3c15b98138a4" providerId="ADAL" clId="{EA3EF6B8-8642-4B5F-8380-9CD710A0C079}" dt="2023-08-15T07:55:03.617" v="1526" actId="207"/>
          <ac:spMkLst>
            <pc:docMk/>
            <pc:sldMk cId="884389446" sldId="2147377178"/>
            <ac:spMk id="39" creationId="{15411B51-3F01-0F38-9B62-AFB00E3E9B10}"/>
          </ac:spMkLst>
        </pc:spChg>
        <pc:spChg chg="mod">
          <ac:chgData name="Fatma Alsagaf" userId="ef587b5e-378a-4bb3-aa9f-3c15b98138a4" providerId="ADAL" clId="{EA3EF6B8-8642-4B5F-8380-9CD710A0C079}" dt="2023-08-15T07:57:16.945" v="1592" actId="1076"/>
          <ac:spMkLst>
            <pc:docMk/>
            <pc:sldMk cId="884389446" sldId="2147377178"/>
            <ac:spMk id="40" creationId="{40D5708F-CC5F-A4D8-65E2-9C4ABB62D7EA}"/>
          </ac:spMkLst>
        </pc:spChg>
        <pc:spChg chg="add mod">
          <ac:chgData name="Fatma Alsagaf" userId="ef587b5e-378a-4bb3-aa9f-3c15b98138a4" providerId="ADAL" clId="{EA3EF6B8-8642-4B5F-8380-9CD710A0C079}" dt="2023-08-15T05:35:25.574" v="1133" actId="20577"/>
          <ac:spMkLst>
            <pc:docMk/>
            <pc:sldMk cId="884389446" sldId="2147377178"/>
            <ac:spMk id="41" creationId="{762DC6CC-B7E7-3E21-474E-93CE51EAD887}"/>
          </ac:spMkLst>
        </pc:spChg>
        <pc:spChg chg="add del mod">
          <ac:chgData name="Fatma Alsagaf" userId="ef587b5e-378a-4bb3-aa9f-3c15b98138a4" providerId="ADAL" clId="{EA3EF6B8-8642-4B5F-8380-9CD710A0C079}" dt="2023-08-15T05:35:20.345" v="1131" actId="478"/>
          <ac:spMkLst>
            <pc:docMk/>
            <pc:sldMk cId="884389446" sldId="2147377178"/>
            <ac:spMk id="42" creationId="{29F75CA6-81D8-4234-8299-FA5453C2A526}"/>
          </ac:spMkLst>
        </pc:spChg>
        <pc:spChg chg="add mod">
          <ac:chgData name="Fatma Alsagaf" userId="ef587b5e-378a-4bb3-aa9f-3c15b98138a4" providerId="ADAL" clId="{EA3EF6B8-8642-4B5F-8380-9CD710A0C079}" dt="2023-08-15T05:38:29.968" v="1149" actId="164"/>
          <ac:spMkLst>
            <pc:docMk/>
            <pc:sldMk cId="884389446" sldId="2147377178"/>
            <ac:spMk id="43" creationId="{8A12AB88-5A62-05FF-CEA3-7BF4CBE74F2A}"/>
          </ac:spMkLst>
        </pc:spChg>
        <pc:spChg chg="add mod">
          <ac:chgData name="Fatma Alsagaf" userId="ef587b5e-378a-4bb3-aa9f-3c15b98138a4" providerId="ADAL" clId="{EA3EF6B8-8642-4B5F-8380-9CD710A0C079}" dt="2023-08-15T05:38:38.803" v="1150" actId="164"/>
          <ac:spMkLst>
            <pc:docMk/>
            <pc:sldMk cId="884389446" sldId="2147377178"/>
            <ac:spMk id="47" creationId="{C131A409-A511-F00E-56F2-141C2B2C9E05}"/>
          </ac:spMkLst>
        </pc:spChg>
        <pc:spChg chg="del mod">
          <ac:chgData name="Fatma Alsagaf" userId="ef587b5e-378a-4bb3-aa9f-3c15b98138a4" providerId="ADAL" clId="{EA3EF6B8-8642-4B5F-8380-9CD710A0C079}" dt="2023-08-15T04:58:59.556" v="788" actId="478"/>
          <ac:spMkLst>
            <pc:docMk/>
            <pc:sldMk cId="884389446" sldId="2147377178"/>
            <ac:spMk id="49" creationId="{7D2A04BB-59CD-86E3-E845-C9B1CD0FADBC}"/>
          </ac:spMkLst>
        </pc:spChg>
        <pc:spChg chg="del">
          <ac:chgData name="Fatma Alsagaf" userId="ef587b5e-378a-4bb3-aa9f-3c15b98138a4" providerId="ADAL" clId="{EA3EF6B8-8642-4B5F-8380-9CD710A0C079}" dt="2023-08-15T04:38:38.155" v="545" actId="478"/>
          <ac:spMkLst>
            <pc:docMk/>
            <pc:sldMk cId="884389446" sldId="2147377178"/>
            <ac:spMk id="50" creationId="{EEDE42EF-3FC1-6BCF-BE3D-4A6EE7476B2B}"/>
          </ac:spMkLst>
        </pc:spChg>
        <pc:spChg chg="del mod">
          <ac:chgData name="Fatma Alsagaf" userId="ef587b5e-378a-4bb3-aa9f-3c15b98138a4" providerId="ADAL" clId="{EA3EF6B8-8642-4B5F-8380-9CD710A0C079}" dt="2023-08-15T04:59:05.427" v="789" actId="478"/>
          <ac:spMkLst>
            <pc:docMk/>
            <pc:sldMk cId="884389446" sldId="2147377178"/>
            <ac:spMk id="51" creationId="{328659AE-9906-8405-FCB2-88D67DCE2AE9}"/>
          </ac:spMkLst>
        </pc:spChg>
        <pc:spChg chg="del mod">
          <ac:chgData name="Fatma Alsagaf" userId="ef587b5e-378a-4bb3-aa9f-3c15b98138a4" providerId="ADAL" clId="{EA3EF6B8-8642-4B5F-8380-9CD710A0C079}" dt="2023-08-15T04:59:05.427" v="789" actId="478"/>
          <ac:spMkLst>
            <pc:docMk/>
            <pc:sldMk cId="884389446" sldId="2147377178"/>
            <ac:spMk id="52" creationId="{BC515623-8AC3-E254-5C8F-2F0E6A932B21}"/>
          </ac:spMkLst>
        </pc:spChg>
        <pc:spChg chg="del mod">
          <ac:chgData name="Fatma Alsagaf" userId="ef587b5e-378a-4bb3-aa9f-3c15b98138a4" providerId="ADAL" clId="{EA3EF6B8-8642-4B5F-8380-9CD710A0C079}" dt="2023-08-15T04:59:05.427" v="789" actId="478"/>
          <ac:spMkLst>
            <pc:docMk/>
            <pc:sldMk cId="884389446" sldId="2147377178"/>
            <ac:spMk id="53" creationId="{1EDD21DB-07DC-8B4C-9E47-D0D65B0A4F6B}"/>
          </ac:spMkLst>
        </pc:spChg>
        <pc:spChg chg="mod">
          <ac:chgData name="Fatma Alsagaf" userId="ef587b5e-378a-4bb3-aa9f-3c15b98138a4" providerId="ADAL" clId="{EA3EF6B8-8642-4B5F-8380-9CD710A0C079}" dt="2023-08-15T04:59:29.558" v="790" actId="1076"/>
          <ac:spMkLst>
            <pc:docMk/>
            <pc:sldMk cId="884389446" sldId="2147377178"/>
            <ac:spMk id="54" creationId="{531DB23D-4C8F-73F0-581E-46B74DC68827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55" creationId="{E78877AA-DE6F-4169-1B4E-32BD05E37FFD}"/>
          </ac:spMkLst>
        </pc:spChg>
        <pc:spChg chg="mod">
          <ac:chgData name="Fatma Alsagaf" userId="ef587b5e-378a-4bb3-aa9f-3c15b98138a4" providerId="ADAL" clId="{EA3EF6B8-8642-4B5F-8380-9CD710A0C079}" dt="2023-08-15T07:51:36.763" v="1484" actId="14100"/>
          <ac:spMkLst>
            <pc:docMk/>
            <pc:sldMk cId="884389446" sldId="2147377178"/>
            <ac:spMk id="56" creationId="{594345A9-F3E8-57E6-75BC-51AFF585B7DA}"/>
          </ac:spMkLst>
        </pc:spChg>
        <pc:spChg chg="del">
          <ac:chgData name="Fatma Alsagaf" userId="ef587b5e-378a-4bb3-aa9f-3c15b98138a4" providerId="ADAL" clId="{EA3EF6B8-8642-4B5F-8380-9CD710A0C079}" dt="2023-08-15T04:41:34.329" v="550" actId="478"/>
          <ac:spMkLst>
            <pc:docMk/>
            <pc:sldMk cId="884389446" sldId="2147377178"/>
            <ac:spMk id="57" creationId="{0EA321B8-7A1E-7243-02E6-BC843E07652B}"/>
          </ac:spMkLst>
        </pc:spChg>
        <pc:spChg chg="del">
          <ac:chgData name="Fatma Alsagaf" userId="ef587b5e-378a-4bb3-aa9f-3c15b98138a4" providerId="ADAL" clId="{EA3EF6B8-8642-4B5F-8380-9CD710A0C079}" dt="2023-08-15T04:41:34.329" v="550" actId="478"/>
          <ac:spMkLst>
            <pc:docMk/>
            <pc:sldMk cId="884389446" sldId="2147377178"/>
            <ac:spMk id="58" creationId="{80701283-AF56-4B6A-4072-37641CA11DC4}"/>
          </ac:spMkLst>
        </pc:spChg>
        <pc:spChg chg="del mod">
          <ac:chgData name="Fatma Alsagaf" userId="ef587b5e-378a-4bb3-aa9f-3c15b98138a4" providerId="ADAL" clId="{EA3EF6B8-8642-4B5F-8380-9CD710A0C079}" dt="2023-08-15T07:57:45.006" v="1594" actId="478"/>
          <ac:spMkLst>
            <pc:docMk/>
            <pc:sldMk cId="884389446" sldId="2147377178"/>
            <ac:spMk id="59" creationId="{6F959749-D318-6235-1A2C-F22360D3E227}"/>
          </ac:spMkLst>
        </pc:spChg>
        <pc:spChg chg="add mod">
          <ac:chgData name="Fatma Alsagaf" userId="ef587b5e-378a-4bb3-aa9f-3c15b98138a4" providerId="ADAL" clId="{EA3EF6B8-8642-4B5F-8380-9CD710A0C079}" dt="2023-08-15T05:38:38.803" v="1150" actId="164"/>
          <ac:spMkLst>
            <pc:docMk/>
            <pc:sldMk cId="884389446" sldId="2147377178"/>
            <ac:spMk id="60" creationId="{88802526-9D6D-B721-D6E3-BEC7B79BB0B8}"/>
          </ac:spMkLst>
        </pc:spChg>
        <pc:spChg chg="add mod">
          <ac:chgData name="Fatma Alsagaf" userId="ef587b5e-378a-4bb3-aa9f-3c15b98138a4" providerId="ADAL" clId="{EA3EF6B8-8642-4B5F-8380-9CD710A0C079}" dt="2023-08-15T05:38:44.324" v="1151" actId="164"/>
          <ac:spMkLst>
            <pc:docMk/>
            <pc:sldMk cId="884389446" sldId="2147377178"/>
            <ac:spMk id="61" creationId="{C12FDBC5-3695-1301-535C-3B7441FB9DC1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63" creationId="{F895B549-37A1-8DA8-D45B-B5BFEC25E9ED}"/>
          </ac:spMkLst>
        </pc:spChg>
        <pc:spChg chg="mod">
          <ac:chgData name="Fatma Alsagaf" userId="ef587b5e-378a-4bb3-aa9f-3c15b98138a4" providerId="ADAL" clId="{EA3EF6B8-8642-4B5F-8380-9CD710A0C079}" dt="2023-08-15T07:51:41.975" v="1485" actId="14100"/>
          <ac:spMkLst>
            <pc:docMk/>
            <pc:sldMk cId="884389446" sldId="2147377178"/>
            <ac:spMk id="64" creationId="{536536B2-DA2C-A033-2319-9EA4B459F78E}"/>
          </ac:spMkLst>
        </pc:spChg>
        <pc:spChg chg="del mod">
          <ac:chgData name="Fatma Alsagaf" userId="ef587b5e-378a-4bb3-aa9f-3c15b98138a4" providerId="ADAL" clId="{EA3EF6B8-8642-4B5F-8380-9CD710A0C079}" dt="2023-08-15T07:57:47.021" v="1595" actId="478"/>
          <ac:spMkLst>
            <pc:docMk/>
            <pc:sldMk cId="884389446" sldId="2147377178"/>
            <ac:spMk id="65" creationId="{B244011E-3F48-A093-C5C7-00551C9F3201}"/>
          </ac:spMkLst>
        </pc:spChg>
        <pc:spChg chg="add mod">
          <ac:chgData name="Fatma Alsagaf" userId="ef587b5e-378a-4bb3-aa9f-3c15b98138a4" providerId="ADAL" clId="{EA3EF6B8-8642-4B5F-8380-9CD710A0C079}" dt="2023-08-15T05:39:10.915" v="1156" actId="164"/>
          <ac:spMkLst>
            <pc:docMk/>
            <pc:sldMk cId="884389446" sldId="2147377178"/>
            <ac:spMk id="66" creationId="{C1C4FFF8-3D07-F00B-2563-B991B8CACC9F}"/>
          </ac:spMkLst>
        </pc:spChg>
        <pc:spChg chg="add mod">
          <ac:chgData name="Fatma Alsagaf" userId="ef587b5e-378a-4bb3-aa9f-3c15b98138a4" providerId="ADAL" clId="{EA3EF6B8-8642-4B5F-8380-9CD710A0C079}" dt="2023-08-15T05:23:00.346" v="996" actId="571"/>
          <ac:spMkLst>
            <pc:docMk/>
            <pc:sldMk cId="884389446" sldId="2147377178"/>
            <ac:spMk id="67" creationId="{06772492-2CC9-E1F8-0CEF-4437CCE48D51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68" creationId="{15D82186-E027-FD7A-7C6F-8255086916D9}"/>
          </ac:spMkLst>
        </pc:spChg>
        <pc:spChg chg="mod">
          <ac:chgData name="Fatma Alsagaf" userId="ef587b5e-378a-4bb3-aa9f-3c15b98138a4" providerId="ADAL" clId="{EA3EF6B8-8642-4B5F-8380-9CD710A0C079}" dt="2023-08-15T05:23:00.346" v="996" actId="571"/>
          <ac:spMkLst>
            <pc:docMk/>
            <pc:sldMk cId="884389446" sldId="2147377178"/>
            <ac:spMk id="71" creationId="{C126347A-154E-5A0B-0A17-897F6394C4D7}"/>
          </ac:spMkLst>
        </pc:spChg>
        <pc:spChg chg="mod">
          <ac:chgData name="Fatma Alsagaf" userId="ef587b5e-378a-4bb3-aa9f-3c15b98138a4" providerId="ADAL" clId="{EA3EF6B8-8642-4B5F-8380-9CD710A0C079}" dt="2023-08-15T05:23:00.346" v="996" actId="571"/>
          <ac:spMkLst>
            <pc:docMk/>
            <pc:sldMk cId="884389446" sldId="2147377178"/>
            <ac:spMk id="72" creationId="{7D9FC23B-821C-F9AC-FC4F-F4AB4E85D778}"/>
          </ac:spMkLst>
        </pc:spChg>
        <pc:spChg chg="mod">
          <ac:chgData name="Fatma Alsagaf" userId="ef587b5e-378a-4bb3-aa9f-3c15b98138a4" providerId="ADAL" clId="{EA3EF6B8-8642-4B5F-8380-9CD710A0C079}" dt="2023-08-15T05:23:00.346" v="996" actId="571"/>
          <ac:spMkLst>
            <pc:docMk/>
            <pc:sldMk cId="884389446" sldId="2147377178"/>
            <ac:spMk id="73" creationId="{ABEB49B9-CCD5-9644-7C23-C56E77C1CAB3}"/>
          </ac:spMkLst>
        </pc:spChg>
        <pc:spChg chg="add mod">
          <ac:chgData name="Fatma Alsagaf" userId="ef587b5e-378a-4bb3-aa9f-3c15b98138a4" providerId="ADAL" clId="{EA3EF6B8-8642-4B5F-8380-9CD710A0C079}" dt="2023-08-15T05:23:00.346" v="996" actId="571"/>
          <ac:spMkLst>
            <pc:docMk/>
            <pc:sldMk cId="884389446" sldId="2147377178"/>
            <ac:spMk id="74" creationId="{44D1DA18-156E-65A7-C75E-8CD169D3589E}"/>
          </ac:spMkLst>
        </pc:spChg>
        <pc:spChg chg="add mod">
          <ac:chgData name="Fatma Alsagaf" userId="ef587b5e-378a-4bb3-aa9f-3c15b98138a4" providerId="ADAL" clId="{EA3EF6B8-8642-4B5F-8380-9CD710A0C079}" dt="2023-08-15T05:51:54.572" v="1225" actId="1076"/>
          <ac:spMkLst>
            <pc:docMk/>
            <pc:sldMk cId="884389446" sldId="2147377178"/>
            <ac:spMk id="75" creationId="{11CA44E1-3211-0C50-088C-123E42519040}"/>
          </ac:spMkLst>
        </pc:spChg>
        <pc:spChg chg="add mod">
          <ac:chgData name="Fatma Alsagaf" userId="ef587b5e-378a-4bb3-aa9f-3c15b98138a4" providerId="ADAL" clId="{EA3EF6B8-8642-4B5F-8380-9CD710A0C079}" dt="2023-08-15T05:51:54.572" v="1225" actId="1076"/>
          <ac:spMkLst>
            <pc:docMk/>
            <pc:sldMk cId="884389446" sldId="2147377178"/>
            <ac:spMk id="76" creationId="{985C933B-BC11-C285-4FF2-4CCB61135E80}"/>
          </ac:spMkLst>
        </pc:spChg>
        <pc:spChg chg="add mod">
          <ac:chgData name="Fatma Alsagaf" userId="ef587b5e-378a-4bb3-aa9f-3c15b98138a4" providerId="ADAL" clId="{EA3EF6B8-8642-4B5F-8380-9CD710A0C079}" dt="2023-08-15T05:51:54.572" v="1225" actId="1076"/>
          <ac:spMkLst>
            <pc:docMk/>
            <pc:sldMk cId="884389446" sldId="2147377178"/>
            <ac:spMk id="77" creationId="{2CF8F3E1-89AD-C93C-26FE-2326542A5802}"/>
          </ac:spMkLst>
        </pc:spChg>
        <pc:spChg chg="add del mod">
          <ac:chgData name="Fatma Alsagaf" userId="ef587b5e-378a-4bb3-aa9f-3c15b98138a4" providerId="ADAL" clId="{EA3EF6B8-8642-4B5F-8380-9CD710A0C079}" dt="2023-08-15T05:29:00.671" v="1080"/>
          <ac:spMkLst>
            <pc:docMk/>
            <pc:sldMk cId="884389446" sldId="2147377178"/>
            <ac:spMk id="80" creationId="{7B09B599-CDA0-FC2A-3380-0CF1722083EF}"/>
          </ac:spMkLst>
        </pc:spChg>
        <pc:spChg chg="mod">
          <ac:chgData name="Fatma Alsagaf" userId="ef587b5e-378a-4bb3-aa9f-3c15b98138a4" providerId="ADAL" clId="{EA3EF6B8-8642-4B5F-8380-9CD710A0C079}" dt="2023-08-15T05:28:57.230" v="1077"/>
          <ac:spMkLst>
            <pc:docMk/>
            <pc:sldMk cId="884389446" sldId="2147377178"/>
            <ac:spMk id="82" creationId="{368A6C1D-1A67-25B2-AC4C-D7CD97708DA4}"/>
          </ac:spMkLst>
        </pc:spChg>
        <pc:spChg chg="mod">
          <ac:chgData name="Fatma Alsagaf" userId="ef587b5e-378a-4bb3-aa9f-3c15b98138a4" providerId="ADAL" clId="{EA3EF6B8-8642-4B5F-8380-9CD710A0C079}" dt="2023-08-15T05:28:57.230" v="1077"/>
          <ac:spMkLst>
            <pc:docMk/>
            <pc:sldMk cId="884389446" sldId="2147377178"/>
            <ac:spMk id="83" creationId="{CF460F12-7865-76B2-A799-86C2EA39B3EB}"/>
          </ac:spMkLst>
        </pc:spChg>
        <pc:spChg chg="mod">
          <ac:chgData name="Fatma Alsagaf" userId="ef587b5e-378a-4bb3-aa9f-3c15b98138a4" providerId="ADAL" clId="{EA3EF6B8-8642-4B5F-8380-9CD710A0C079}" dt="2023-08-15T05:28:57.230" v="1077"/>
          <ac:spMkLst>
            <pc:docMk/>
            <pc:sldMk cId="884389446" sldId="2147377178"/>
            <ac:spMk id="84" creationId="{F9F78731-9127-8734-97C5-E4675F5E1321}"/>
          </ac:spMkLst>
        </pc:spChg>
        <pc:spChg chg="add del mod">
          <ac:chgData name="Fatma Alsagaf" userId="ef587b5e-378a-4bb3-aa9f-3c15b98138a4" providerId="ADAL" clId="{EA3EF6B8-8642-4B5F-8380-9CD710A0C079}" dt="2023-08-15T05:29:00.671" v="1080"/>
          <ac:spMkLst>
            <pc:docMk/>
            <pc:sldMk cId="884389446" sldId="2147377178"/>
            <ac:spMk id="85" creationId="{0F26F64B-3173-E7D8-9A0D-95F780272041}"/>
          </ac:spMkLst>
        </pc:spChg>
        <pc:spChg chg="add del mod">
          <ac:chgData name="Fatma Alsagaf" userId="ef587b5e-378a-4bb3-aa9f-3c15b98138a4" providerId="ADAL" clId="{EA3EF6B8-8642-4B5F-8380-9CD710A0C079}" dt="2023-08-15T05:29:00.671" v="1080"/>
          <ac:spMkLst>
            <pc:docMk/>
            <pc:sldMk cId="884389446" sldId="2147377178"/>
            <ac:spMk id="87" creationId="{D72574E9-6AAD-48C8-68C3-98C349A05602}"/>
          </ac:spMkLst>
        </pc:spChg>
        <pc:spChg chg="mod">
          <ac:chgData name="Fatma Alsagaf" userId="ef587b5e-378a-4bb3-aa9f-3c15b98138a4" providerId="ADAL" clId="{EA3EF6B8-8642-4B5F-8380-9CD710A0C079}" dt="2023-08-15T05:28:57.230" v="1077"/>
          <ac:spMkLst>
            <pc:docMk/>
            <pc:sldMk cId="884389446" sldId="2147377178"/>
            <ac:spMk id="89" creationId="{2501C1AE-EA7C-D0BC-22F4-A48A62645AD5}"/>
          </ac:spMkLst>
        </pc:spChg>
        <pc:spChg chg="mod">
          <ac:chgData name="Fatma Alsagaf" userId="ef587b5e-378a-4bb3-aa9f-3c15b98138a4" providerId="ADAL" clId="{EA3EF6B8-8642-4B5F-8380-9CD710A0C079}" dt="2023-08-15T05:28:57.230" v="1077"/>
          <ac:spMkLst>
            <pc:docMk/>
            <pc:sldMk cId="884389446" sldId="2147377178"/>
            <ac:spMk id="93" creationId="{816AAED4-015E-B6FB-FDA8-E56CBB76A789}"/>
          </ac:spMkLst>
        </pc:spChg>
        <pc:spChg chg="mod">
          <ac:chgData name="Fatma Alsagaf" userId="ef587b5e-378a-4bb3-aa9f-3c15b98138a4" providerId="ADAL" clId="{EA3EF6B8-8642-4B5F-8380-9CD710A0C079}" dt="2023-08-15T05:28:57.230" v="1077"/>
          <ac:spMkLst>
            <pc:docMk/>
            <pc:sldMk cId="884389446" sldId="2147377178"/>
            <ac:spMk id="94" creationId="{48F8DB88-C956-FD0F-F9C6-915634513293}"/>
          </ac:spMkLst>
        </pc:spChg>
        <pc:spChg chg="add del mod">
          <ac:chgData name="Fatma Alsagaf" userId="ef587b5e-378a-4bb3-aa9f-3c15b98138a4" providerId="ADAL" clId="{EA3EF6B8-8642-4B5F-8380-9CD710A0C079}" dt="2023-08-15T05:29:00.671" v="1080"/>
          <ac:spMkLst>
            <pc:docMk/>
            <pc:sldMk cId="884389446" sldId="2147377178"/>
            <ac:spMk id="95" creationId="{211EFFCD-8C7A-4D4D-F2C2-EC9F687F5294}"/>
          </ac:spMkLst>
        </pc:spChg>
        <pc:spChg chg="add del mod">
          <ac:chgData name="Fatma Alsagaf" userId="ef587b5e-378a-4bb3-aa9f-3c15b98138a4" providerId="ADAL" clId="{EA3EF6B8-8642-4B5F-8380-9CD710A0C079}" dt="2023-08-15T05:29:00.671" v="1080"/>
          <ac:spMkLst>
            <pc:docMk/>
            <pc:sldMk cId="884389446" sldId="2147377178"/>
            <ac:spMk id="96" creationId="{3AA59B60-23DC-1043-EDF7-EAD417F83252}"/>
          </ac:spMkLst>
        </pc:spChg>
        <pc:spChg chg="mod">
          <ac:chgData name="Fatma Alsagaf" userId="ef587b5e-378a-4bb3-aa9f-3c15b98138a4" providerId="ADAL" clId="{EA3EF6B8-8642-4B5F-8380-9CD710A0C079}" dt="2023-08-15T05:28:57.230" v="1077"/>
          <ac:spMkLst>
            <pc:docMk/>
            <pc:sldMk cId="884389446" sldId="2147377178"/>
            <ac:spMk id="98" creationId="{B99C835F-44CE-8EFE-77FA-60A660748BBA}"/>
          </ac:spMkLst>
        </pc:spChg>
        <pc:spChg chg="mod">
          <ac:chgData name="Fatma Alsagaf" userId="ef587b5e-378a-4bb3-aa9f-3c15b98138a4" providerId="ADAL" clId="{EA3EF6B8-8642-4B5F-8380-9CD710A0C079}" dt="2023-08-15T05:28:57.230" v="1077"/>
          <ac:spMkLst>
            <pc:docMk/>
            <pc:sldMk cId="884389446" sldId="2147377178"/>
            <ac:spMk id="99" creationId="{7B4C5668-B7A1-112C-3E8E-1005E2CC9D58}"/>
          </ac:spMkLst>
        </pc:spChg>
        <pc:spChg chg="mod">
          <ac:chgData name="Fatma Alsagaf" userId="ef587b5e-378a-4bb3-aa9f-3c15b98138a4" providerId="ADAL" clId="{EA3EF6B8-8642-4B5F-8380-9CD710A0C079}" dt="2023-08-15T05:28:57.230" v="1077"/>
          <ac:spMkLst>
            <pc:docMk/>
            <pc:sldMk cId="884389446" sldId="2147377178"/>
            <ac:spMk id="100" creationId="{2C7D657F-165E-33F9-1E93-1B6C4259AAD2}"/>
          </ac:spMkLst>
        </pc:spChg>
        <pc:spChg chg="add del mod">
          <ac:chgData name="Fatma Alsagaf" userId="ef587b5e-378a-4bb3-aa9f-3c15b98138a4" providerId="ADAL" clId="{EA3EF6B8-8642-4B5F-8380-9CD710A0C079}" dt="2023-08-15T05:29:00.671" v="1080"/>
          <ac:spMkLst>
            <pc:docMk/>
            <pc:sldMk cId="884389446" sldId="2147377178"/>
            <ac:spMk id="101" creationId="{DA894D9E-9040-0A3A-D6E8-3178F2C7A96C}"/>
          </ac:spMkLst>
        </pc:spChg>
        <pc:spChg chg="add del mod">
          <ac:chgData name="Fatma Alsagaf" userId="ef587b5e-378a-4bb3-aa9f-3c15b98138a4" providerId="ADAL" clId="{EA3EF6B8-8642-4B5F-8380-9CD710A0C079}" dt="2023-08-15T05:38:07.792" v="1147" actId="478"/>
          <ac:spMkLst>
            <pc:docMk/>
            <pc:sldMk cId="884389446" sldId="2147377178"/>
            <ac:spMk id="102" creationId="{D0406B35-E21A-6E01-6C70-3468280DFCBD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104" creationId="{FA6CC927-4EBF-CAA8-781A-F424DE18FF9C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105" creationId="{C18ABAD2-4479-9857-C87B-7B04F31B522F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106" creationId="{6BA3E70E-D2E0-2F0E-8D7C-C2AB422AE650}"/>
          </ac:spMkLst>
        </pc:spChg>
        <pc:spChg chg="add del mod">
          <ac:chgData name="Fatma Alsagaf" userId="ef587b5e-378a-4bb3-aa9f-3c15b98138a4" providerId="ADAL" clId="{EA3EF6B8-8642-4B5F-8380-9CD710A0C079}" dt="2023-08-15T05:38:13.953" v="1148" actId="478"/>
          <ac:spMkLst>
            <pc:docMk/>
            <pc:sldMk cId="884389446" sldId="2147377178"/>
            <ac:spMk id="107" creationId="{EF3B648C-59F9-F11A-737C-4486D01C5B02}"/>
          </ac:spMkLst>
        </pc:spChg>
        <pc:spChg chg="add del mod">
          <ac:chgData name="Fatma Alsagaf" userId="ef587b5e-378a-4bb3-aa9f-3c15b98138a4" providerId="ADAL" clId="{EA3EF6B8-8642-4B5F-8380-9CD710A0C079}" dt="2023-08-15T05:38:07.792" v="1147" actId="478"/>
          <ac:spMkLst>
            <pc:docMk/>
            <pc:sldMk cId="884389446" sldId="2147377178"/>
            <ac:spMk id="108" creationId="{1319263D-1B18-17E9-8780-17BD76BB74CC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110" creationId="{74C90DCB-9F81-094C-29A8-8F178594ACB0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111" creationId="{201D0D33-D098-95D1-A0C0-C527D41DB0AF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112" creationId="{36294EBA-992D-68C2-A952-4590112E5902}"/>
          </ac:spMkLst>
        </pc:spChg>
        <pc:spChg chg="add del mod">
          <ac:chgData name="Fatma Alsagaf" userId="ef587b5e-378a-4bb3-aa9f-3c15b98138a4" providerId="ADAL" clId="{EA3EF6B8-8642-4B5F-8380-9CD710A0C079}" dt="2023-08-15T05:38:13.953" v="1148" actId="478"/>
          <ac:spMkLst>
            <pc:docMk/>
            <pc:sldMk cId="884389446" sldId="2147377178"/>
            <ac:spMk id="113" creationId="{16C43146-CF78-4B0F-F252-1BD353575276}"/>
          </ac:spMkLst>
        </pc:spChg>
        <pc:spChg chg="add del mod">
          <ac:chgData name="Fatma Alsagaf" userId="ef587b5e-378a-4bb3-aa9f-3c15b98138a4" providerId="ADAL" clId="{EA3EF6B8-8642-4B5F-8380-9CD710A0C079}" dt="2023-08-15T05:38:07.792" v="1147" actId="478"/>
          <ac:spMkLst>
            <pc:docMk/>
            <pc:sldMk cId="884389446" sldId="2147377178"/>
            <ac:spMk id="114" creationId="{F0B43C8E-4C8C-28A6-8728-CAE236DC3353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116" creationId="{A56B9D77-1046-BF3A-9E25-3EA697A75349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117" creationId="{4F2D4B7A-E86A-415B-B5E3-20A64974C788}"/>
          </ac:spMkLst>
        </pc:spChg>
        <pc:spChg chg="mod">
          <ac:chgData name="Fatma Alsagaf" userId="ef587b5e-378a-4bb3-aa9f-3c15b98138a4" providerId="ADAL" clId="{EA3EF6B8-8642-4B5F-8380-9CD710A0C079}" dt="2023-08-15T05:33:23.483" v="1115" actId="1076"/>
          <ac:spMkLst>
            <pc:docMk/>
            <pc:sldMk cId="884389446" sldId="2147377178"/>
            <ac:spMk id="118" creationId="{A197BB9D-108D-D76E-FFA8-96793A6AFA12}"/>
          </ac:spMkLst>
        </pc:spChg>
        <pc:spChg chg="add del mod">
          <ac:chgData name="Fatma Alsagaf" userId="ef587b5e-378a-4bb3-aa9f-3c15b98138a4" providerId="ADAL" clId="{EA3EF6B8-8642-4B5F-8380-9CD710A0C079}" dt="2023-08-15T05:38:13.953" v="1148" actId="478"/>
          <ac:spMkLst>
            <pc:docMk/>
            <pc:sldMk cId="884389446" sldId="2147377178"/>
            <ac:spMk id="119" creationId="{C8C7210B-2AE0-75D4-ED15-E453F4DE6CE9}"/>
          </ac:spMkLst>
        </pc:spChg>
        <pc:spChg chg="add del mod">
          <ac:chgData name="Fatma Alsagaf" userId="ef587b5e-378a-4bb3-aa9f-3c15b98138a4" providerId="ADAL" clId="{EA3EF6B8-8642-4B5F-8380-9CD710A0C079}" dt="2023-08-15T05:34:20.905" v="1122" actId="478"/>
          <ac:spMkLst>
            <pc:docMk/>
            <pc:sldMk cId="884389446" sldId="2147377178"/>
            <ac:spMk id="123" creationId="{59D2A3F8-77D3-02CE-7829-7D97B21905C3}"/>
          </ac:spMkLst>
        </pc:spChg>
        <pc:spChg chg="add del mod">
          <ac:chgData name="Fatma Alsagaf" userId="ef587b5e-378a-4bb3-aa9f-3c15b98138a4" providerId="ADAL" clId="{EA3EF6B8-8642-4B5F-8380-9CD710A0C079}" dt="2023-08-15T05:34:19" v="1121" actId="478"/>
          <ac:spMkLst>
            <pc:docMk/>
            <pc:sldMk cId="884389446" sldId="2147377178"/>
            <ac:spMk id="124" creationId="{5A60874F-21B0-1F9E-39C7-630F5B6AC218}"/>
          </ac:spMkLst>
        </pc:spChg>
        <pc:spChg chg="add del mod">
          <ac:chgData name="Fatma Alsagaf" userId="ef587b5e-378a-4bb3-aa9f-3c15b98138a4" providerId="ADAL" clId="{EA3EF6B8-8642-4B5F-8380-9CD710A0C079}" dt="2023-08-15T05:34:19" v="1121" actId="478"/>
          <ac:spMkLst>
            <pc:docMk/>
            <pc:sldMk cId="884389446" sldId="2147377178"/>
            <ac:spMk id="125" creationId="{A7365B2C-6B5D-716C-7087-6D139A85E0DB}"/>
          </ac:spMkLst>
        </pc:spChg>
        <pc:spChg chg="add del mod">
          <ac:chgData name="Fatma Alsagaf" userId="ef587b5e-378a-4bb3-aa9f-3c15b98138a4" providerId="ADAL" clId="{EA3EF6B8-8642-4B5F-8380-9CD710A0C079}" dt="2023-08-15T05:34:19" v="1121" actId="478"/>
          <ac:spMkLst>
            <pc:docMk/>
            <pc:sldMk cId="884389446" sldId="2147377178"/>
            <ac:spMk id="126" creationId="{7FB9FAFB-9F79-F336-F9AE-E211F08B3EA9}"/>
          </ac:spMkLst>
        </pc:spChg>
        <pc:spChg chg="add del mod">
          <ac:chgData name="Fatma Alsagaf" userId="ef587b5e-378a-4bb3-aa9f-3c15b98138a4" providerId="ADAL" clId="{EA3EF6B8-8642-4B5F-8380-9CD710A0C079}" dt="2023-08-15T05:31:57.783" v="1114"/>
          <ac:spMkLst>
            <pc:docMk/>
            <pc:sldMk cId="884389446" sldId="2147377178"/>
            <ac:spMk id="127" creationId="{4E65A31C-8A10-A066-6898-04E5C7650AE5}"/>
          </ac:spMkLst>
        </pc:spChg>
        <pc:spChg chg="add del mod">
          <ac:chgData name="Fatma Alsagaf" userId="ef587b5e-378a-4bb3-aa9f-3c15b98138a4" providerId="ADAL" clId="{EA3EF6B8-8642-4B5F-8380-9CD710A0C079}" dt="2023-08-15T05:31:57.783" v="1114"/>
          <ac:spMkLst>
            <pc:docMk/>
            <pc:sldMk cId="884389446" sldId="2147377178"/>
            <ac:spMk id="1024" creationId="{D5B7E9A0-A8F0-FC4F-D31F-AC2C920A55B9}"/>
          </ac:spMkLst>
        </pc:spChg>
        <pc:spChg chg="add del mod">
          <ac:chgData name="Fatma Alsagaf" userId="ef587b5e-378a-4bb3-aa9f-3c15b98138a4" providerId="ADAL" clId="{EA3EF6B8-8642-4B5F-8380-9CD710A0C079}" dt="2023-08-15T05:31:57.783" v="1114"/>
          <ac:spMkLst>
            <pc:docMk/>
            <pc:sldMk cId="884389446" sldId="2147377178"/>
            <ac:spMk id="1025" creationId="{6EF376F8-4D2F-B425-8DB9-F433A6D58241}"/>
          </ac:spMkLst>
        </pc:spChg>
        <pc:spChg chg="add del mod">
          <ac:chgData name="Fatma Alsagaf" userId="ef587b5e-378a-4bb3-aa9f-3c15b98138a4" providerId="ADAL" clId="{EA3EF6B8-8642-4B5F-8380-9CD710A0C079}" dt="2023-08-15T05:31:57.783" v="1114"/>
          <ac:spMkLst>
            <pc:docMk/>
            <pc:sldMk cId="884389446" sldId="2147377178"/>
            <ac:spMk id="1027" creationId="{F5C42AB2-C0F6-4994-D35F-28E63F69D8C8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35" creationId="{4AB1A7B4-3A9B-9F16-D1FB-1AC3457F03D6}"/>
          </ac:spMkLst>
        </pc:spChg>
        <pc:spChg chg="mod">
          <ac:chgData name="Fatma Alsagaf" userId="ef587b5e-378a-4bb3-aa9f-3c15b98138a4" providerId="ADAL" clId="{EA3EF6B8-8642-4B5F-8380-9CD710A0C079}" dt="2023-08-15T05:34:22.955" v="1123"/>
          <ac:spMkLst>
            <pc:docMk/>
            <pc:sldMk cId="884389446" sldId="2147377178"/>
            <ac:spMk id="1037" creationId="{5166BF82-4561-73AE-10F9-DBEF434E3B5E}"/>
          </ac:spMkLst>
        </pc:spChg>
        <pc:spChg chg="mod">
          <ac:chgData name="Fatma Alsagaf" userId="ef587b5e-378a-4bb3-aa9f-3c15b98138a4" providerId="ADAL" clId="{EA3EF6B8-8642-4B5F-8380-9CD710A0C079}" dt="2023-08-15T05:34:22.955" v="1123"/>
          <ac:spMkLst>
            <pc:docMk/>
            <pc:sldMk cId="884389446" sldId="2147377178"/>
            <ac:spMk id="1038" creationId="{59217978-C89C-7D39-8531-BD98A49C8CC6}"/>
          </ac:spMkLst>
        </pc:spChg>
        <pc:spChg chg="mod">
          <ac:chgData name="Fatma Alsagaf" userId="ef587b5e-378a-4bb3-aa9f-3c15b98138a4" providerId="ADAL" clId="{EA3EF6B8-8642-4B5F-8380-9CD710A0C079}" dt="2023-08-15T05:34:22.955" v="1123"/>
          <ac:spMkLst>
            <pc:docMk/>
            <pc:sldMk cId="884389446" sldId="2147377178"/>
            <ac:spMk id="1039" creationId="{CB5EFBBE-C397-E7C6-81B4-E829856537BA}"/>
          </ac:spMkLst>
        </pc:spChg>
        <pc:spChg chg="del mod">
          <ac:chgData name="Fatma Alsagaf" userId="ef587b5e-378a-4bb3-aa9f-3c15b98138a4" providerId="ADAL" clId="{EA3EF6B8-8642-4B5F-8380-9CD710A0C079}" dt="2023-08-15T05:36:02.995" v="1136" actId="478"/>
          <ac:spMkLst>
            <pc:docMk/>
            <pc:sldMk cId="884389446" sldId="2147377178"/>
            <ac:spMk id="1040" creationId="{F7397DA6-D0DE-3118-58EC-D30F1CAA6FDF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41" creationId="{D3627AC0-AF67-8EAE-833D-94237614B302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42" creationId="{2C7BEC9E-811B-3837-03F8-FA4330C18BEB}"/>
          </ac:spMkLst>
        </pc:spChg>
        <pc:spChg chg="mod">
          <ac:chgData name="Fatma Alsagaf" userId="ef587b5e-378a-4bb3-aa9f-3c15b98138a4" providerId="ADAL" clId="{EA3EF6B8-8642-4B5F-8380-9CD710A0C079}" dt="2023-08-15T05:34:58.483" v="1127"/>
          <ac:spMkLst>
            <pc:docMk/>
            <pc:sldMk cId="884389446" sldId="2147377178"/>
            <ac:spMk id="1044" creationId="{0B005E25-5BC0-F662-E206-5FE2B4112113}"/>
          </ac:spMkLst>
        </pc:spChg>
        <pc:spChg chg="mod">
          <ac:chgData name="Fatma Alsagaf" userId="ef587b5e-378a-4bb3-aa9f-3c15b98138a4" providerId="ADAL" clId="{EA3EF6B8-8642-4B5F-8380-9CD710A0C079}" dt="2023-08-15T05:34:58.483" v="1127"/>
          <ac:spMkLst>
            <pc:docMk/>
            <pc:sldMk cId="884389446" sldId="2147377178"/>
            <ac:spMk id="1047" creationId="{4AACF8A3-0E25-E49D-2B91-C36CA883277F}"/>
          </ac:spMkLst>
        </pc:spChg>
        <pc:spChg chg="mod">
          <ac:chgData name="Fatma Alsagaf" userId="ef587b5e-378a-4bb3-aa9f-3c15b98138a4" providerId="ADAL" clId="{EA3EF6B8-8642-4B5F-8380-9CD710A0C079}" dt="2023-08-15T05:34:58.483" v="1127"/>
          <ac:spMkLst>
            <pc:docMk/>
            <pc:sldMk cId="884389446" sldId="2147377178"/>
            <ac:spMk id="1048" creationId="{69E7927F-8198-EB98-6B58-6DA54F0AE4AB}"/>
          </ac:spMkLst>
        </pc:spChg>
        <pc:spChg chg="del mod">
          <ac:chgData name="Fatma Alsagaf" userId="ef587b5e-378a-4bb3-aa9f-3c15b98138a4" providerId="ADAL" clId="{EA3EF6B8-8642-4B5F-8380-9CD710A0C079}" dt="2023-08-15T05:36:05.547" v="1137" actId="478"/>
          <ac:spMkLst>
            <pc:docMk/>
            <pc:sldMk cId="884389446" sldId="2147377178"/>
            <ac:spMk id="1049" creationId="{2C8CCEEA-12FB-12C5-7970-8F03F5E5C94E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51" creationId="{DD41BBD6-9109-0458-1D07-14C9C420B4E4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52" creationId="{26A73329-FE0F-1E45-156A-250D1F58AC74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53" creationId="{AE232E8D-120F-5580-9CBC-D988DD8761D0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54" creationId="{B1B81D04-3140-B5EC-FD43-7C07B285AD71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55" creationId="{E65FCBF7-CF2A-1BA3-F78A-55EE191AD407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56" creationId="{FF14FE24-7D82-3807-1133-6DECC4C42F21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57" creationId="{7F596D1C-1E3D-6F3C-5F6A-0DB86C4A8012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58" creationId="{6D8C0FAE-B83E-E0DF-AB91-4F30410704EE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59" creationId="{38B9B589-1167-7C0B-0F97-515EB6F383E0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60" creationId="{6D39F8F1-5F71-61A1-CC5A-1BBEAA939BD2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64" creationId="{E463DC5E-9B09-55B5-CE5F-A73B414EF4AE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65" creationId="{3C44E579-B6DA-1424-3DA1-F2D3862C06FA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66" creationId="{649670E1-86C1-FFF5-E7FA-54F86BD879E5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67" creationId="{93AA2B34-E5DF-6E9E-EB3F-3E9019AD4C44}"/>
          </ac:spMkLst>
        </pc:spChg>
        <pc:spChg chg="mod">
          <ac:chgData name="Fatma Alsagaf" userId="ef587b5e-378a-4bb3-aa9f-3c15b98138a4" providerId="ADAL" clId="{EA3EF6B8-8642-4B5F-8380-9CD710A0C079}" dt="2023-08-15T05:36:15.027" v="1138"/>
          <ac:spMkLst>
            <pc:docMk/>
            <pc:sldMk cId="884389446" sldId="2147377178"/>
            <ac:spMk id="1069" creationId="{390F0DEC-ED81-7DC3-3B99-BD28123FE643}"/>
          </ac:spMkLst>
        </pc:spChg>
        <pc:spChg chg="mod">
          <ac:chgData name="Fatma Alsagaf" userId="ef587b5e-378a-4bb3-aa9f-3c15b98138a4" providerId="ADAL" clId="{EA3EF6B8-8642-4B5F-8380-9CD710A0C079}" dt="2023-08-15T05:36:15.027" v="1138"/>
          <ac:spMkLst>
            <pc:docMk/>
            <pc:sldMk cId="884389446" sldId="2147377178"/>
            <ac:spMk id="1070" creationId="{257E702D-336B-9AD1-85F3-7CADBDE9DB01}"/>
          </ac:spMkLst>
        </pc:spChg>
        <pc:spChg chg="mod">
          <ac:chgData name="Fatma Alsagaf" userId="ef587b5e-378a-4bb3-aa9f-3c15b98138a4" providerId="ADAL" clId="{EA3EF6B8-8642-4B5F-8380-9CD710A0C079}" dt="2023-08-15T05:36:15.027" v="1138"/>
          <ac:spMkLst>
            <pc:docMk/>
            <pc:sldMk cId="884389446" sldId="2147377178"/>
            <ac:spMk id="1071" creationId="{ADE2C4A4-01E7-1635-9300-5F80FCE7499A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74" creationId="{66FADB95-4CCC-7F51-6C9E-A1AB1F36678F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75" creationId="{E1D6E0EA-5E83-18FD-55EC-1E75053DD232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77" creationId="{43D2DC75-8A38-E253-1D3C-CACF8BDCB6E9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78" creationId="{FA0E86CC-AB2E-38E3-6FB7-63FC86C28A7C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79" creationId="{48C19F2F-8E6C-3336-E51F-DDEF15984BE4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80" creationId="{602442AC-1FF1-747B-5730-2032AB17D2E6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083" creationId="{9B169A17-6608-AF02-830D-6DEA6A213E1D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84" creationId="{958816BC-FB51-0FD3-9AEB-DC35D98BD659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85" creationId="{09ADAFD9-2AEC-2A31-6642-E16D3C34E452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86" creationId="{E070DC11-10E0-CE62-F7EC-CDA71E150720}"/>
          </ac:spMkLst>
        </pc:spChg>
        <pc:spChg chg="add del">
          <ac:chgData name="Fatma Alsagaf" userId="ef587b5e-378a-4bb3-aa9f-3c15b98138a4" providerId="ADAL" clId="{EA3EF6B8-8642-4B5F-8380-9CD710A0C079}" dt="2023-08-15T04:43:13.859" v="557" actId="478"/>
          <ac:spMkLst>
            <pc:docMk/>
            <pc:sldMk cId="884389446" sldId="2147377178"/>
            <ac:spMk id="1087" creationId="{D62CA72B-6CB0-AA83-297B-433EC89B09C7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088" creationId="{FCC21FB5-0E2F-C44B-0E21-3098EB9BF01B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089" creationId="{485BA706-9549-5A0A-9E85-471DB5AB95DF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091" creationId="{B381C342-3B51-97B5-DC0E-E1C50621C9B5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093" creationId="{6B9B0727-93B5-249F-0757-E8D4240E19F2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094" creationId="{2D689015-ABF5-BB66-1CD0-CD94008FF0D6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095" creationId="{81D5138C-672C-1EF6-B10A-5FC69821021F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096" creationId="{71390E5A-E85B-A021-C6D5-A0CC6C66D45A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098" creationId="{141920C8-F227-0041-89C6-56453BF5C9D0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00" creationId="{5568CD79-6125-BA73-4C65-4E77F6CFB29F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01" creationId="{0B0CBB0A-7CB0-0098-4A43-3B5372622E5A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02" creationId="{BA0F6D5F-F2DE-B7EB-041B-351620C0DB61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03" creationId="{88003685-4F78-F6CE-B5C7-EC92CFE4CB85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05" creationId="{45E3E2A2-865F-9964-8ED9-65B445BB2215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07" creationId="{C4CF06DF-70AF-3B8D-ED9F-CF12CC57946D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08" creationId="{BA3AFE36-8C7E-0F3E-29F6-EBC86B97B2D5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09" creationId="{EB338F06-9853-BA1C-AD54-6BE0CB0061DF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11" creationId="{DBE6570A-5886-6AFC-9860-074C61424DC3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12" creationId="{5A41CCEC-9AC5-1079-8045-9BD6F9B181BF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13" creationId="{3034DBBB-15B6-A838-1CDE-647DF1B50B76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15" creationId="{DA1998B0-175F-84BB-A09B-9A0904B4B44C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16" creationId="{D1B83F49-BA29-256F-E9F4-D45FFD620472}"/>
          </ac:spMkLst>
        </pc:spChg>
        <pc:spChg chg="mod">
          <ac:chgData name="Fatma Alsagaf" userId="ef587b5e-378a-4bb3-aa9f-3c15b98138a4" providerId="ADAL" clId="{EA3EF6B8-8642-4B5F-8380-9CD710A0C079}" dt="2023-08-15T05:38:54.101" v="1152"/>
          <ac:spMkLst>
            <pc:docMk/>
            <pc:sldMk cId="884389446" sldId="2147377178"/>
            <ac:spMk id="1117" creationId="{4015936E-83D8-6A94-FC49-C87DB434795E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20" creationId="{8B5717C5-6C94-D502-943E-9D385309BAC8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21" creationId="{1C7D553F-A1C0-5371-0CBA-A3D30107A779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22" creationId="{B0FFE920-EB6F-B398-114F-EF5B273B0E6A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24" creationId="{64AC6211-B257-764B-0795-803480390AEA}"/>
          </ac:spMkLst>
        </pc:spChg>
        <pc:spChg chg="mod">
          <ac:chgData name="Fatma Alsagaf" userId="ef587b5e-378a-4bb3-aa9f-3c15b98138a4" providerId="ADAL" clId="{EA3EF6B8-8642-4B5F-8380-9CD710A0C079}" dt="2023-08-15T05:39:33.817" v="1161" actId="20577"/>
          <ac:spMkLst>
            <pc:docMk/>
            <pc:sldMk cId="884389446" sldId="2147377178"/>
            <ac:spMk id="1126" creationId="{9B552A63-9BFB-0519-193A-D826E977A8DA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27" creationId="{5AA326AB-2D51-1A93-E473-EF930DE47F1D}"/>
          </ac:spMkLst>
        </pc:spChg>
        <pc:spChg chg="mod">
          <ac:chgData name="Fatma Alsagaf" userId="ef587b5e-378a-4bb3-aa9f-3c15b98138a4" providerId="ADAL" clId="{EA3EF6B8-8642-4B5F-8380-9CD710A0C079}" dt="2023-08-15T07:55:03.190" v="1525" actId="207"/>
          <ac:spMkLst>
            <pc:docMk/>
            <pc:sldMk cId="884389446" sldId="2147377178"/>
            <ac:spMk id="1128" creationId="{B627766F-9018-A565-B427-C848DA4E0991}"/>
          </ac:spMkLst>
        </pc:spChg>
        <pc:spChg chg="del mod">
          <ac:chgData name="Fatma Alsagaf" userId="ef587b5e-378a-4bb3-aa9f-3c15b98138a4" providerId="ADAL" clId="{EA3EF6B8-8642-4B5F-8380-9CD710A0C079}" dt="2023-08-15T07:57:49.012" v="1596" actId="478"/>
          <ac:spMkLst>
            <pc:docMk/>
            <pc:sldMk cId="884389446" sldId="2147377178"/>
            <ac:spMk id="1129" creationId="{CDF048C1-750D-89F7-43B6-C7BEA2119BCB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31" creationId="{F8952C8E-B4AD-8E68-1476-F1D1158A14C0}"/>
          </ac:spMkLst>
        </pc:spChg>
        <pc:spChg chg="mod">
          <ac:chgData name="Fatma Alsagaf" userId="ef587b5e-378a-4bb3-aa9f-3c15b98138a4" providerId="ADAL" clId="{EA3EF6B8-8642-4B5F-8380-9CD710A0C079}" dt="2023-08-15T05:39:37.691" v="1164" actId="20577"/>
          <ac:spMkLst>
            <pc:docMk/>
            <pc:sldMk cId="884389446" sldId="2147377178"/>
            <ac:spMk id="1133" creationId="{0334937E-C5B4-452D-6388-D03CD3F58825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34" creationId="{F25800B1-6341-7833-1F04-3C84600FBAEA}"/>
          </ac:spMkLst>
        </pc:spChg>
        <pc:spChg chg="mod">
          <ac:chgData name="Fatma Alsagaf" userId="ef587b5e-378a-4bb3-aa9f-3c15b98138a4" providerId="ADAL" clId="{EA3EF6B8-8642-4B5F-8380-9CD710A0C079}" dt="2023-08-15T07:51:50.334" v="1487" actId="14100"/>
          <ac:spMkLst>
            <pc:docMk/>
            <pc:sldMk cId="884389446" sldId="2147377178"/>
            <ac:spMk id="1135" creationId="{5623696E-978A-90DC-1451-391BCD63EBE5}"/>
          </ac:spMkLst>
        </pc:spChg>
        <pc:spChg chg="del mod">
          <ac:chgData name="Fatma Alsagaf" userId="ef587b5e-378a-4bb3-aa9f-3c15b98138a4" providerId="ADAL" clId="{EA3EF6B8-8642-4B5F-8380-9CD710A0C079}" dt="2023-08-15T07:57:50.600" v="1597" actId="478"/>
          <ac:spMkLst>
            <pc:docMk/>
            <pc:sldMk cId="884389446" sldId="2147377178"/>
            <ac:spMk id="1136" creationId="{BF09EED9-A6DD-B704-4FEB-658974F431B5}"/>
          </ac:spMkLst>
        </pc:spChg>
        <pc:spChg chg="mod">
          <ac:chgData name="Fatma Alsagaf" userId="ef587b5e-378a-4bb3-aa9f-3c15b98138a4" providerId="ADAL" clId="{EA3EF6B8-8642-4B5F-8380-9CD710A0C079}" dt="2023-08-15T05:39:41.066" v="1169" actId="20577"/>
          <ac:spMkLst>
            <pc:docMk/>
            <pc:sldMk cId="884389446" sldId="2147377178"/>
            <ac:spMk id="1139" creationId="{A3095D28-F057-ABDF-239E-981A506352BA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40" creationId="{4D2B4ABF-D65D-BAC9-FAD7-F17E9DF8D1BA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42" creationId="{980B1FDE-AC04-B584-EC7C-68CF9A38D16C}"/>
          </ac:spMkLst>
        </pc:spChg>
        <pc:spChg chg="mod">
          <ac:chgData name="Fatma Alsagaf" userId="ef587b5e-378a-4bb3-aa9f-3c15b98138a4" providerId="ADAL" clId="{EA3EF6B8-8642-4B5F-8380-9CD710A0C079}" dt="2023-08-15T07:51:54.973" v="1488" actId="14100"/>
          <ac:spMkLst>
            <pc:docMk/>
            <pc:sldMk cId="884389446" sldId="2147377178"/>
            <ac:spMk id="1143" creationId="{C31C3C76-848E-7F7E-EDCF-14B4E18E03E9}"/>
          </ac:spMkLst>
        </pc:spChg>
        <pc:spChg chg="del mod">
          <ac:chgData name="Fatma Alsagaf" userId="ef587b5e-378a-4bb3-aa9f-3c15b98138a4" providerId="ADAL" clId="{EA3EF6B8-8642-4B5F-8380-9CD710A0C079}" dt="2023-08-15T07:57:52.370" v="1598" actId="478"/>
          <ac:spMkLst>
            <pc:docMk/>
            <pc:sldMk cId="884389446" sldId="2147377178"/>
            <ac:spMk id="1144" creationId="{0BDCB0B1-92DF-F016-6C68-75986B4BDDAB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46" creationId="{B0F16B8B-7EA3-79A6-98AD-B8DDAF488F58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47" creationId="{49A1AF66-E087-355A-3998-D592BFDA1FDF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48" creationId="{E22FE7A0-EEA6-9424-95DE-1DF34785D67F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50" creationId="{2F67B5FE-0D70-F276-F84C-A4479325E1FF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51" creationId="{1D486F1D-7B22-FEDF-2F59-C32B4472A79D}"/>
          </ac:spMkLst>
        </pc:spChg>
        <pc:spChg chg="mod">
          <ac:chgData name="Fatma Alsagaf" userId="ef587b5e-378a-4bb3-aa9f-3c15b98138a4" providerId="ADAL" clId="{EA3EF6B8-8642-4B5F-8380-9CD710A0C079}" dt="2023-08-15T05:39:16.741" v="1157"/>
          <ac:spMkLst>
            <pc:docMk/>
            <pc:sldMk cId="884389446" sldId="2147377178"/>
            <ac:spMk id="1152" creationId="{D797E617-FF7F-AAA6-CBFD-C3C3C6623EBC}"/>
          </ac:spMkLst>
        </pc:spChg>
        <pc:spChg chg="mod">
          <ac:chgData name="Fatma Alsagaf" userId="ef587b5e-378a-4bb3-aa9f-3c15b98138a4" providerId="ADAL" clId="{EA3EF6B8-8642-4B5F-8380-9CD710A0C079}" dt="2023-08-15T05:41:31.845" v="1172" actId="1076"/>
          <ac:spMkLst>
            <pc:docMk/>
            <pc:sldMk cId="884389446" sldId="2147377178"/>
            <ac:spMk id="1155" creationId="{376C974A-FD07-201F-6495-9D47B86CA9EA}"/>
          </ac:spMkLst>
        </pc:spChg>
        <pc:spChg chg="mod">
          <ac:chgData name="Fatma Alsagaf" userId="ef587b5e-378a-4bb3-aa9f-3c15b98138a4" providerId="ADAL" clId="{EA3EF6B8-8642-4B5F-8380-9CD710A0C079}" dt="2023-08-15T05:41:31.845" v="1172" actId="1076"/>
          <ac:spMkLst>
            <pc:docMk/>
            <pc:sldMk cId="884389446" sldId="2147377178"/>
            <ac:spMk id="1156" creationId="{D12065B6-853C-666F-A168-CC1B097C7CBC}"/>
          </ac:spMkLst>
        </pc:spChg>
        <pc:spChg chg="add mod">
          <ac:chgData name="Fatma Alsagaf" userId="ef587b5e-378a-4bb3-aa9f-3c15b98138a4" providerId="ADAL" clId="{EA3EF6B8-8642-4B5F-8380-9CD710A0C079}" dt="2023-08-15T05:47:17.864" v="1205" actId="14100"/>
          <ac:spMkLst>
            <pc:docMk/>
            <pc:sldMk cId="884389446" sldId="2147377178"/>
            <ac:spMk id="1158" creationId="{625B54CC-5219-DDAE-1A0F-2330045E3908}"/>
          </ac:spMkLst>
        </pc:spChg>
        <pc:spChg chg="add mod">
          <ac:chgData name="Fatma Alsagaf" userId="ef587b5e-378a-4bb3-aa9f-3c15b98138a4" providerId="ADAL" clId="{EA3EF6B8-8642-4B5F-8380-9CD710A0C079}" dt="2023-08-15T05:41:48.875" v="1173" actId="164"/>
          <ac:spMkLst>
            <pc:docMk/>
            <pc:sldMk cId="884389446" sldId="2147377178"/>
            <ac:spMk id="1160" creationId="{11592984-6154-2D7A-EAD2-83AC978AA60F}"/>
          </ac:spMkLst>
        </pc:spChg>
        <pc:spChg chg="add mod">
          <ac:chgData name="Fatma Alsagaf" userId="ef587b5e-378a-4bb3-aa9f-3c15b98138a4" providerId="ADAL" clId="{EA3EF6B8-8642-4B5F-8380-9CD710A0C079}" dt="2023-08-15T05:41:48.875" v="1173" actId="164"/>
          <ac:spMkLst>
            <pc:docMk/>
            <pc:sldMk cId="884389446" sldId="2147377178"/>
            <ac:spMk id="1161" creationId="{D10E4146-3447-08C8-A45A-EF6074F0E6A5}"/>
          </ac:spMkLst>
        </pc:spChg>
        <pc:spChg chg="add mod">
          <ac:chgData name="Fatma Alsagaf" userId="ef587b5e-378a-4bb3-aa9f-3c15b98138a4" providerId="ADAL" clId="{EA3EF6B8-8642-4B5F-8380-9CD710A0C079}" dt="2023-08-15T05:42:17.939" v="1177" actId="164"/>
          <ac:spMkLst>
            <pc:docMk/>
            <pc:sldMk cId="884389446" sldId="2147377178"/>
            <ac:spMk id="1162" creationId="{9E76A4D3-E99A-532D-3E37-F22BDB38D54D}"/>
          </ac:spMkLst>
        </pc:spChg>
        <pc:spChg chg="add mod">
          <ac:chgData name="Fatma Alsagaf" userId="ef587b5e-378a-4bb3-aa9f-3c15b98138a4" providerId="ADAL" clId="{EA3EF6B8-8642-4B5F-8380-9CD710A0C079}" dt="2023-08-15T05:42:17.939" v="1177" actId="164"/>
          <ac:spMkLst>
            <pc:docMk/>
            <pc:sldMk cId="884389446" sldId="2147377178"/>
            <ac:spMk id="1163" creationId="{179CF802-6E73-1BAC-5266-62261A556B94}"/>
          </ac:spMkLst>
        </pc:spChg>
        <pc:spChg chg="add mod">
          <ac:chgData name="Fatma Alsagaf" userId="ef587b5e-378a-4bb3-aa9f-3c15b98138a4" providerId="ADAL" clId="{EA3EF6B8-8642-4B5F-8380-9CD710A0C079}" dt="2023-08-15T05:42:13.849" v="1176" actId="164"/>
          <ac:spMkLst>
            <pc:docMk/>
            <pc:sldMk cId="884389446" sldId="2147377178"/>
            <ac:spMk id="1164" creationId="{6320FA8B-C740-F7FD-0599-0DD341592120}"/>
          </ac:spMkLst>
        </pc:spChg>
        <pc:spChg chg="add mod">
          <ac:chgData name="Fatma Alsagaf" userId="ef587b5e-378a-4bb3-aa9f-3c15b98138a4" providerId="ADAL" clId="{EA3EF6B8-8642-4B5F-8380-9CD710A0C079}" dt="2023-08-15T05:42:13.849" v="1176" actId="164"/>
          <ac:spMkLst>
            <pc:docMk/>
            <pc:sldMk cId="884389446" sldId="2147377178"/>
            <ac:spMk id="1165" creationId="{4C97AEE3-20E0-4A88-8740-930AEE007F4B}"/>
          </ac:spMkLst>
        </pc:spChg>
        <pc:spChg chg="add mod">
          <ac:chgData name="Fatma Alsagaf" userId="ef587b5e-378a-4bb3-aa9f-3c15b98138a4" providerId="ADAL" clId="{EA3EF6B8-8642-4B5F-8380-9CD710A0C079}" dt="2023-08-15T05:47:49.241" v="1207" actId="164"/>
          <ac:spMkLst>
            <pc:docMk/>
            <pc:sldMk cId="884389446" sldId="2147377178"/>
            <ac:spMk id="1166" creationId="{2A98E474-C49C-FED9-516D-69319D3095A5}"/>
          </ac:spMkLst>
        </pc:spChg>
        <pc:spChg chg="add mod">
          <ac:chgData name="Fatma Alsagaf" userId="ef587b5e-378a-4bb3-aa9f-3c15b98138a4" providerId="ADAL" clId="{EA3EF6B8-8642-4B5F-8380-9CD710A0C079}" dt="2023-08-15T05:47:58.185" v="1208" actId="164"/>
          <ac:spMkLst>
            <pc:docMk/>
            <pc:sldMk cId="884389446" sldId="2147377178"/>
            <ac:spMk id="1167" creationId="{0B88FEC1-0AB4-3386-EEEE-BFF9EAED4183}"/>
          </ac:spMkLst>
        </pc:spChg>
        <pc:spChg chg="add mod">
          <ac:chgData name="Fatma Alsagaf" userId="ef587b5e-378a-4bb3-aa9f-3c15b98138a4" providerId="ADAL" clId="{EA3EF6B8-8642-4B5F-8380-9CD710A0C079}" dt="2023-08-15T05:48:13.026" v="1209" actId="164"/>
          <ac:spMkLst>
            <pc:docMk/>
            <pc:sldMk cId="884389446" sldId="2147377178"/>
            <ac:spMk id="1168" creationId="{CD6315CA-E1B4-D492-2973-F5F2037AC192}"/>
          </ac:spMkLst>
        </pc:spChg>
        <pc:spChg chg="add mod">
          <ac:chgData name="Fatma Alsagaf" userId="ef587b5e-378a-4bb3-aa9f-3c15b98138a4" providerId="ADAL" clId="{EA3EF6B8-8642-4B5F-8380-9CD710A0C079}" dt="2023-08-15T05:48:22.742" v="1210" actId="164"/>
          <ac:spMkLst>
            <pc:docMk/>
            <pc:sldMk cId="884389446" sldId="2147377178"/>
            <ac:spMk id="1169" creationId="{3406EB71-458F-55D1-4EBD-809B9A7691E3}"/>
          </ac:spMkLst>
        </pc:spChg>
        <pc:spChg chg="add mod">
          <ac:chgData name="Fatma Alsagaf" userId="ef587b5e-378a-4bb3-aa9f-3c15b98138a4" providerId="ADAL" clId="{EA3EF6B8-8642-4B5F-8380-9CD710A0C079}" dt="2023-08-15T05:47:49.241" v="1207" actId="164"/>
          <ac:spMkLst>
            <pc:docMk/>
            <pc:sldMk cId="884389446" sldId="2147377178"/>
            <ac:spMk id="1170" creationId="{EB53FFF1-97F8-F009-5153-6ABA133A026A}"/>
          </ac:spMkLst>
        </pc:spChg>
        <pc:spChg chg="add mod">
          <ac:chgData name="Fatma Alsagaf" userId="ef587b5e-378a-4bb3-aa9f-3c15b98138a4" providerId="ADAL" clId="{EA3EF6B8-8642-4B5F-8380-9CD710A0C079}" dt="2023-08-15T05:47:58.185" v="1208" actId="164"/>
          <ac:spMkLst>
            <pc:docMk/>
            <pc:sldMk cId="884389446" sldId="2147377178"/>
            <ac:spMk id="1171" creationId="{E141C35A-FE2A-88A7-458A-014B3F7FCE3A}"/>
          </ac:spMkLst>
        </pc:spChg>
        <pc:spChg chg="add mod">
          <ac:chgData name="Fatma Alsagaf" userId="ef587b5e-378a-4bb3-aa9f-3c15b98138a4" providerId="ADAL" clId="{EA3EF6B8-8642-4B5F-8380-9CD710A0C079}" dt="2023-08-15T05:48:13.026" v="1209" actId="164"/>
          <ac:spMkLst>
            <pc:docMk/>
            <pc:sldMk cId="884389446" sldId="2147377178"/>
            <ac:spMk id="1172" creationId="{00E02DD0-0DF2-AFFA-7690-0138BC4F06DC}"/>
          </ac:spMkLst>
        </pc:spChg>
        <pc:spChg chg="add mod">
          <ac:chgData name="Fatma Alsagaf" userId="ef587b5e-378a-4bb3-aa9f-3c15b98138a4" providerId="ADAL" clId="{EA3EF6B8-8642-4B5F-8380-9CD710A0C079}" dt="2023-08-15T05:48:22.742" v="1210" actId="164"/>
          <ac:spMkLst>
            <pc:docMk/>
            <pc:sldMk cId="884389446" sldId="2147377178"/>
            <ac:spMk id="1173" creationId="{333C8A8B-DC12-74F4-F5DC-0B3180B02804}"/>
          </ac:spMkLst>
        </pc:spChg>
        <pc:spChg chg="add mod">
          <ac:chgData name="Fatma Alsagaf" userId="ef587b5e-378a-4bb3-aa9f-3c15b98138a4" providerId="ADAL" clId="{EA3EF6B8-8642-4B5F-8380-9CD710A0C079}" dt="2023-08-15T05:48:13.026" v="1209" actId="164"/>
          <ac:spMkLst>
            <pc:docMk/>
            <pc:sldMk cId="884389446" sldId="2147377178"/>
            <ac:spMk id="1174" creationId="{4878A517-74CB-E3C6-F01B-EDF0F4BCE315}"/>
          </ac:spMkLst>
        </pc:spChg>
        <pc:spChg chg="add mod">
          <ac:chgData name="Fatma Alsagaf" userId="ef587b5e-378a-4bb3-aa9f-3c15b98138a4" providerId="ADAL" clId="{EA3EF6B8-8642-4B5F-8380-9CD710A0C079}" dt="2023-08-15T05:48:22.742" v="1210" actId="164"/>
          <ac:spMkLst>
            <pc:docMk/>
            <pc:sldMk cId="884389446" sldId="2147377178"/>
            <ac:spMk id="1175" creationId="{493EA49F-CBAA-215D-2F45-943429C7135B}"/>
          </ac:spMkLst>
        </pc:spChg>
        <pc:spChg chg="mod">
          <ac:chgData name="Fatma Alsagaf" userId="ef587b5e-378a-4bb3-aa9f-3c15b98138a4" providerId="ADAL" clId="{EA3EF6B8-8642-4B5F-8380-9CD710A0C079}" dt="2023-08-15T09:54:59.280" v="2121" actId="404"/>
          <ac:spMkLst>
            <pc:docMk/>
            <pc:sldMk cId="884389446" sldId="2147377178"/>
            <ac:spMk id="1188" creationId="{63430347-A1DA-E840-DE1C-7C6761C62550}"/>
          </ac:spMkLst>
        </pc:spChg>
        <pc:spChg chg="mod">
          <ac:chgData name="Fatma Alsagaf" userId="ef587b5e-378a-4bb3-aa9f-3c15b98138a4" providerId="ADAL" clId="{EA3EF6B8-8642-4B5F-8380-9CD710A0C079}" dt="2023-08-15T09:56:59.997" v="2138" actId="1076"/>
          <ac:spMkLst>
            <pc:docMk/>
            <pc:sldMk cId="884389446" sldId="2147377178"/>
            <ac:spMk id="1189" creationId="{CA65B947-661A-CA48-1A20-DCF5A62B069A}"/>
          </ac:spMkLst>
        </pc:spChg>
        <pc:spChg chg="add mod">
          <ac:chgData name="Fatma Alsagaf" userId="ef587b5e-378a-4bb3-aa9f-3c15b98138a4" providerId="ADAL" clId="{EA3EF6B8-8642-4B5F-8380-9CD710A0C079}" dt="2023-08-15T09:54:59.280" v="2121" actId="404"/>
          <ac:spMkLst>
            <pc:docMk/>
            <pc:sldMk cId="884389446" sldId="2147377178"/>
            <ac:spMk id="1190" creationId="{1D1F594E-BF8D-E175-BFCE-BEA2367E5B70}"/>
          </ac:spMkLst>
        </pc:spChg>
        <pc:spChg chg="add mod">
          <ac:chgData name="Fatma Alsagaf" userId="ef587b5e-378a-4bb3-aa9f-3c15b98138a4" providerId="ADAL" clId="{EA3EF6B8-8642-4B5F-8380-9CD710A0C079}" dt="2023-08-15T09:54:59.280" v="2121" actId="404"/>
          <ac:spMkLst>
            <pc:docMk/>
            <pc:sldMk cId="884389446" sldId="2147377178"/>
            <ac:spMk id="1191" creationId="{550C95C4-31F0-9071-6500-545BA90B516D}"/>
          </ac:spMkLst>
        </pc:spChg>
        <pc:spChg chg="add mod">
          <ac:chgData name="Fatma Alsagaf" userId="ef587b5e-378a-4bb3-aa9f-3c15b98138a4" providerId="ADAL" clId="{EA3EF6B8-8642-4B5F-8380-9CD710A0C079}" dt="2023-08-15T09:54:59.280" v="2121" actId="404"/>
          <ac:spMkLst>
            <pc:docMk/>
            <pc:sldMk cId="884389446" sldId="2147377178"/>
            <ac:spMk id="1192" creationId="{16777964-964A-BFFC-4583-B06137E85A1F}"/>
          </ac:spMkLst>
        </pc:spChg>
        <pc:spChg chg="add mod">
          <ac:chgData name="Fatma Alsagaf" userId="ef587b5e-378a-4bb3-aa9f-3c15b98138a4" providerId="ADAL" clId="{EA3EF6B8-8642-4B5F-8380-9CD710A0C079}" dt="2023-08-15T09:54:59.280" v="2121" actId="404"/>
          <ac:spMkLst>
            <pc:docMk/>
            <pc:sldMk cId="884389446" sldId="2147377178"/>
            <ac:spMk id="1193" creationId="{A4A91387-5E56-8CFC-018E-6FD3FF0A543E}"/>
          </ac:spMkLst>
        </pc:spChg>
        <pc:spChg chg="add mod">
          <ac:chgData name="Fatma Alsagaf" userId="ef587b5e-378a-4bb3-aa9f-3c15b98138a4" providerId="ADAL" clId="{EA3EF6B8-8642-4B5F-8380-9CD710A0C079}" dt="2023-08-15T09:54:59.280" v="2121" actId="404"/>
          <ac:spMkLst>
            <pc:docMk/>
            <pc:sldMk cId="884389446" sldId="2147377178"/>
            <ac:spMk id="1195" creationId="{CB251B30-7A29-1D36-1A69-FACC756CF56A}"/>
          </ac:spMkLst>
        </pc:spChg>
        <pc:spChg chg="add mod">
          <ac:chgData name="Fatma Alsagaf" userId="ef587b5e-378a-4bb3-aa9f-3c15b98138a4" providerId="ADAL" clId="{EA3EF6B8-8642-4B5F-8380-9CD710A0C079}" dt="2023-08-15T09:54:59.280" v="2121" actId="404"/>
          <ac:spMkLst>
            <pc:docMk/>
            <pc:sldMk cId="884389446" sldId="2147377178"/>
            <ac:spMk id="1196" creationId="{43952ACA-7F67-9B81-D283-F0E394727B65}"/>
          </ac:spMkLst>
        </pc:spChg>
        <pc:spChg chg="add del mod">
          <ac:chgData name="Fatma Alsagaf" userId="ef587b5e-378a-4bb3-aa9f-3c15b98138a4" providerId="ADAL" clId="{EA3EF6B8-8642-4B5F-8380-9CD710A0C079}" dt="2023-08-15T07:15:47.590" v="1237"/>
          <ac:spMkLst>
            <pc:docMk/>
            <pc:sldMk cId="884389446" sldId="2147377178"/>
            <ac:spMk id="1198" creationId="{C3F476D2-B4B1-1BCA-BE0B-28B2D707D053}"/>
          </ac:spMkLst>
        </pc:spChg>
        <pc:spChg chg="add del mod">
          <ac:chgData name="Fatma Alsagaf" userId="ef587b5e-378a-4bb3-aa9f-3c15b98138a4" providerId="ADAL" clId="{EA3EF6B8-8642-4B5F-8380-9CD710A0C079}" dt="2023-08-15T07:15:47.590" v="1237"/>
          <ac:spMkLst>
            <pc:docMk/>
            <pc:sldMk cId="884389446" sldId="2147377178"/>
            <ac:spMk id="1199" creationId="{004D68E1-EE07-DC6B-B632-1143ADC7B7A4}"/>
          </ac:spMkLst>
        </pc:spChg>
        <pc:spChg chg="add del mod">
          <ac:chgData name="Fatma Alsagaf" userId="ef587b5e-378a-4bb3-aa9f-3c15b98138a4" providerId="ADAL" clId="{EA3EF6B8-8642-4B5F-8380-9CD710A0C079}" dt="2023-08-15T07:15:47.590" v="1237"/>
          <ac:spMkLst>
            <pc:docMk/>
            <pc:sldMk cId="884389446" sldId="2147377178"/>
            <ac:spMk id="1200" creationId="{3B7E5907-900D-4752-433B-666CCDF52749}"/>
          </ac:spMkLst>
        </pc:spChg>
        <pc:spChg chg="add del mod">
          <ac:chgData name="Fatma Alsagaf" userId="ef587b5e-378a-4bb3-aa9f-3c15b98138a4" providerId="ADAL" clId="{EA3EF6B8-8642-4B5F-8380-9CD710A0C079}" dt="2023-08-15T07:15:56.700" v="1241"/>
          <ac:spMkLst>
            <pc:docMk/>
            <pc:sldMk cId="884389446" sldId="2147377178"/>
            <ac:spMk id="1201" creationId="{E2B91839-1AA4-3B8C-31A4-32803B9CD49A}"/>
          </ac:spMkLst>
        </pc:spChg>
        <pc:spChg chg="add del mod">
          <ac:chgData name="Fatma Alsagaf" userId="ef587b5e-378a-4bb3-aa9f-3c15b98138a4" providerId="ADAL" clId="{EA3EF6B8-8642-4B5F-8380-9CD710A0C079}" dt="2023-08-15T07:15:56.700" v="1241"/>
          <ac:spMkLst>
            <pc:docMk/>
            <pc:sldMk cId="884389446" sldId="2147377178"/>
            <ac:spMk id="1202" creationId="{D1DC077C-9C6E-81E1-AB2A-C0ADAA565C08}"/>
          </ac:spMkLst>
        </pc:spChg>
        <pc:spChg chg="add del mod">
          <ac:chgData name="Fatma Alsagaf" userId="ef587b5e-378a-4bb3-aa9f-3c15b98138a4" providerId="ADAL" clId="{EA3EF6B8-8642-4B5F-8380-9CD710A0C079}" dt="2023-08-15T07:15:56.700" v="1241"/>
          <ac:spMkLst>
            <pc:docMk/>
            <pc:sldMk cId="884389446" sldId="2147377178"/>
            <ac:spMk id="1203" creationId="{0148DC75-B674-74F3-4438-EAA5A7A419BD}"/>
          </ac:spMkLst>
        </pc:spChg>
        <pc:spChg chg="mod">
          <ac:chgData name="Fatma Alsagaf" userId="ef587b5e-378a-4bb3-aa9f-3c15b98138a4" providerId="ADAL" clId="{EA3EF6B8-8642-4B5F-8380-9CD710A0C079}" dt="2023-08-15T07:17:10.522" v="1242"/>
          <ac:spMkLst>
            <pc:docMk/>
            <pc:sldMk cId="884389446" sldId="2147377178"/>
            <ac:spMk id="1205" creationId="{483040CF-9149-A59D-F698-38FC04B4B5D5}"/>
          </ac:spMkLst>
        </pc:spChg>
        <pc:spChg chg="mod">
          <ac:chgData name="Fatma Alsagaf" userId="ef587b5e-378a-4bb3-aa9f-3c15b98138a4" providerId="ADAL" clId="{EA3EF6B8-8642-4B5F-8380-9CD710A0C079}" dt="2023-08-15T07:17:10.522" v="1242"/>
          <ac:spMkLst>
            <pc:docMk/>
            <pc:sldMk cId="884389446" sldId="2147377178"/>
            <ac:spMk id="1206" creationId="{2166E18F-AE6C-4FEE-C53C-9D887BC97C86}"/>
          </ac:spMkLst>
        </pc:spChg>
        <pc:spChg chg="mod">
          <ac:chgData name="Fatma Alsagaf" userId="ef587b5e-378a-4bb3-aa9f-3c15b98138a4" providerId="ADAL" clId="{EA3EF6B8-8642-4B5F-8380-9CD710A0C079}" dt="2023-08-15T07:17:10.522" v="1242"/>
          <ac:spMkLst>
            <pc:docMk/>
            <pc:sldMk cId="884389446" sldId="2147377178"/>
            <ac:spMk id="1207" creationId="{BFA06871-8D01-6559-7468-C33EB00DACAC}"/>
          </ac:spMkLst>
        </pc:spChg>
        <pc:spChg chg="mod">
          <ac:chgData name="Fatma Alsagaf" userId="ef587b5e-378a-4bb3-aa9f-3c15b98138a4" providerId="ADAL" clId="{EA3EF6B8-8642-4B5F-8380-9CD710A0C079}" dt="2023-08-15T07:17:10.522" v="1242"/>
          <ac:spMkLst>
            <pc:docMk/>
            <pc:sldMk cId="884389446" sldId="2147377178"/>
            <ac:spMk id="1208" creationId="{B7F5AB0A-9316-2810-67E5-2DF9D9FD132A}"/>
          </ac:spMkLst>
        </pc:spChg>
        <pc:spChg chg="mod">
          <ac:chgData name="Fatma Alsagaf" userId="ef587b5e-378a-4bb3-aa9f-3c15b98138a4" providerId="ADAL" clId="{EA3EF6B8-8642-4B5F-8380-9CD710A0C079}" dt="2023-08-15T07:17:10.522" v="1242"/>
          <ac:spMkLst>
            <pc:docMk/>
            <pc:sldMk cId="884389446" sldId="2147377178"/>
            <ac:spMk id="1209" creationId="{4803DC07-8F81-5C90-64EB-314269993D88}"/>
          </ac:spMkLst>
        </pc:spChg>
        <pc:spChg chg="mod">
          <ac:chgData name="Fatma Alsagaf" userId="ef587b5e-378a-4bb3-aa9f-3c15b98138a4" providerId="ADAL" clId="{EA3EF6B8-8642-4B5F-8380-9CD710A0C079}" dt="2023-08-15T07:17:10.522" v="1242"/>
          <ac:spMkLst>
            <pc:docMk/>
            <pc:sldMk cId="884389446" sldId="2147377178"/>
            <ac:spMk id="1210" creationId="{B12D26BD-C352-7DAB-3EA3-24BC8574EDF0}"/>
          </ac:spMkLst>
        </pc:spChg>
        <pc:spChg chg="mod">
          <ac:chgData name="Fatma Alsagaf" userId="ef587b5e-378a-4bb3-aa9f-3c15b98138a4" providerId="ADAL" clId="{EA3EF6B8-8642-4B5F-8380-9CD710A0C079}" dt="2023-08-15T07:17:10.522" v="1242"/>
          <ac:spMkLst>
            <pc:docMk/>
            <pc:sldMk cId="884389446" sldId="2147377178"/>
            <ac:spMk id="1211" creationId="{CDB6A176-407D-DE77-1C5C-C2F5A5DE4ADD}"/>
          </ac:spMkLst>
        </pc:spChg>
        <pc:spChg chg="mod topLvl">
          <ac:chgData name="Fatma Alsagaf" userId="ef587b5e-378a-4bb3-aa9f-3c15b98138a4" providerId="ADAL" clId="{EA3EF6B8-8642-4B5F-8380-9CD710A0C079}" dt="2023-08-15T07:55:36.931" v="1538" actId="165"/>
          <ac:spMkLst>
            <pc:docMk/>
            <pc:sldMk cId="884389446" sldId="2147377178"/>
            <ac:spMk id="1213" creationId="{B80D55FD-85FB-F9FE-F95B-53FC6CC8678D}"/>
          </ac:spMkLst>
        </pc:spChg>
        <pc:spChg chg="mod topLvl">
          <ac:chgData name="Fatma Alsagaf" userId="ef587b5e-378a-4bb3-aa9f-3c15b98138a4" providerId="ADAL" clId="{EA3EF6B8-8642-4B5F-8380-9CD710A0C079}" dt="2023-08-15T07:55:36.931" v="1538" actId="165"/>
          <ac:spMkLst>
            <pc:docMk/>
            <pc:sldMk cId="884389446" sldId="2147377178"/>
            <ac:spMk id="1214" creationId="{AF4827D6-D41C-729C-D903-D0C2D7E21DA4}"/>
          </ac:spMkLst>
        </pc:spChg>
        <pc:spChg chg="mod topLvl">
          <ac:chgData name="Fatma Alsagaf" userId="ef587b5e-378a-4bb3-aa9f-3c15b98138a4" providerId="ADAL" clId="{EA3EF6B8-8642-4B5F-8380-9CD710A0C079}" dt="2023-08-15T07:55:36.931" v="1538" actId="165"/>
          <ac:spMkLst>
            <pc:docMk/>
            <pc:sldMk cId="884389446" sldId="2147377178"/>
            <ac:spMk id="1215" creationId="{9570993C-0596-2B65-FB13-EE8C34BA445D}"/>
          </ac:spMkLst>
        </pc:spChg>
        <pc:spChg chg="mod topLvl">
          <ac:chgData name="Fatma Alsagaf" userId="ef587b5e-378a-4bb3-aa9f-3c15b98138a4" providerId="ADAL" clId="{EA3EF6B8-8642-4B5F-8380-9CD710A0C079}" dt="2023-08-15T07:56:45.381" v="1586" actId="14100"/>
          <ac:spMkLst>
            <pc:docMk/>
            <pc:sldMk cId="884389446" sldId="2147377178"/>
            <ac:spMk id="1216" creationId="{9F450735-C6D4-06E6-8486-4CBA0FB1B38F}"/>
          </ac:spMkLst>
        </pc:spChg>
        <pc:spChg chg="mod topLvl">
          <ac:chgData name="Fatma Alsagaf" userId="ef587b5e-378a-4bb3-aa9f-3c15b98138a4" providerId="ADAL" clId="{EA3EF6B8-8642-4B5F-8380-9CD710A0C079}" dt="2023-08-15T07:56:17.931" v="1554" actId="20577"/>
          <ac:spMkLst>
            <pc:docMk/>
            <pc:sldMk cId="884389446" sldId="2147377178"/>
            <ac:spMk id="1217" creationId="{9F92D10B-A4BE-1FEB-2E5A-8F2EA5E1B4B4}"/>
          </ac:spMkLst>
        </pc:spChg>
        <pc:spChg chg="mod topLvl">
          <ac:chgData name="Fatma Alsagaf" userId="ef587b5e-378a-4bb3-aa9f-3c15b98138a4" providerId="ADAL" clId="{EA3EF6B8-8642-4B5F-8380-9CD710A0C079}" dt="2023-08-15T07:55:36.931" v="1538" actId="165"/>
          <ac:spMkLst>
            <pc:docMk/>
            <pc:sldMk cId="884389446" sldId="2147377178"/>
            <ac:spMk id="1218" creationId="{65114EEB-1CFE-9BC0-5465-4D42483C4A10}"/>
          </ac:spMkLst>
        </pc:spChg>
        <pc:spChg chg="mod topLvl">
          <ac:chgData name="Fatma Alsagaf" userId="ef587b5e-378a-4bb3-aa9f-3c15b98138a4" providerId="ADAL" clId="{EA3EF6B8-8642-4B5F-8380-9CD710A0C079}" dt="2023-08-15T07:55:36.931" v="1538" actId="165"/>
          <ac:spMkLst>
            <pc:docMk/>
            <pc:sldMk cId="884389446" sldId="2147377178"/>
            <ac:spMk id="1219" creationId="{204388A3-5A74-1C84-0CD1-68D4D4AD7EDB}"/>
          </ac:spMkLst>
        </pc:spChg>
        <pc:spChg chg="add del mod">
          <ac:chgData name="Fatma Alsagaf" userId="ef587b5e-378a-4bb3-aa9f-3c15b98138a4" providerId="ADAL" clId="{EA3EF6B8-8642-4B5F-8380-9CD710A0C079}" dt="2023-08-15T07:20:47.572" v="1276"/>
          <ac:spMkLst>
            <pc:docMk/>
            <pc:sldMk cId="884389446" sldId="2147377178"/>
            <ac:spMk id="1220" creationId="{5501656F-C09A-1E58-77B7-41F03046D94A}"/>
          </ac:spMkLst>
        </pc:spChg>
        <pc:spChg chg="add del mod">
          <ac:chgData name="Fatma Alsagaf" userId="ef587b5e-378a-4bb3-aa9f-3c15b98138a4" providerId="ADAL" clId="{EA3EF6B8-8642-4B5F-8380-9CD710A0C079}" dt="2023-08-15T07:43:03.600" v="1357" actId="478"/>
          <ac:spMkLst>
            <pc:docMk/>
            <pc:sldMk cId="884389446" sldId="2147377178"/>
            <ac:spMk id="1222" creationId="{F87A9147-67D3-E274-E2F4-D77E349AF033}"/>
          </ac:spMkLst>
        </pc:spChg>
        <pc:spChg chg="del mod">
          <ac:chgData name="Fatma Alsagaf" userId="ef587b5e-378a-4bb3-aa9f-3c15b98138a4" providerId="ADAL" clId="{EA3EF6B8-8642-4B5F-8380-9CD710A0C079}" dt="2023-08-15T07:43:18.752" v="1363" actId="478"/>
          <ac:spMkLst>
            <pc:docMk/>
            <pc:sldMk cId="884389446" sldId="2147377178"/>
            <ac:spMk id="1226" creationId="{B04CCA8D-A853-DF3C-E941-799A95FA1377}"/>
          </ac:spMkLst>
        </pc:spChg>
        <pc:spChg chg="del mod topLvl">
          <ac:chgData name="Fatma Alsagaf" userId="ef587b5e-378a-4bb3-aa9f-3c15b98138a4" providerId="ADAL" clId="{EA3EF6B8-8642-4B5F-8380-9CD710A0C079}" dt="2023-08-15T07:43:24.952" v="1367" actId="478"/>
          <ac:spMkLst>
            <pc:docMk/>
            <pc:sldMk cId="884389446" sldId="2147377178"/>
            <ac:spMk id="1227" creationId="{F864C11A-BBDC-FD2C-7449-0A30B4F4B244}"/>
          </ac:spMkLst>
        </pc:spChg>
        <pc:spChg chg="del mod">
          <ac:chgData name="Fatma Alsagaf" userId="ef587b5e-378a-4bb3-aa9f-3c15b98138a4" providerId="ADAL" clId="{EA3EF6B8-8642-4B5F-8380-9CD710A0C079}" dt="2023-08-15T07:43:15.843" v="1361" actId="478"/>
          <ac:spMkLst>
            <pc:docMk/>
            <pc:sldMk cId="884389446" sldId="2147377178"/>
            <ac:spMk id="1228" creationId="{ECA475D1-54C0-B41E-A2FC-57DF777123D2}"/>
          </ac:spMkLst>
        </pc:spChg>
        <pc:spChg chg="del mod">
          <ac:chgData name="Fatma Alsagaf" userId="ef587b5e-378a-4bb3-aa9f-3c15b98138a4" providerId="ADAL" clId="{EA3EF6B8-8642-4B5F-8380-9CD710A0C079}" dt="2023-08-15T07:43:23.586" v="1366" actId="478"/>
          <ac:spMkLst>
            <pc:docMk/>
            <pc:sldMk cId="884389446" sldId="2147377178"/>
            <ac:spMk id="1229" creationId="{C7C426BA-4260-DF1A-20A9-2BBA20CDC7F6}"/>
          </ac:spMkLst>
        </pc:spChg>
        <pc:spChg chg="del mod">
          <ac:chgData name="Fatma Alsagaf" userId="ef587b5e-378a-4bb3-aa9f-3c15b98138a4" providerId="ADAL" clId="{EA3EF6B8-8642-4B5F-8380-9CD710A0C079}" dt="2023-08-15T07:43:21.955" v="1365" actId="478"/>
          <ac:spMkLst>
            <pc:docMk/>
            <pc:sldMk cId="884389446" sldId="2147377178"/>
            <ac:spMk id="1231" creationId="{19D7172A-C1D5-44C4-7DDE-F67056340AC5}"/>
          </ac:spMkLst>
        </pc:spChg>
        <pc:spChg chg="del mod">
          <ac:chgData name="Fatma Alsagaf" userId="ef587b5e-378a-4bb3-aa9f-3c15b98138a4" providerId="ADAL" clId="{EA3EF6B8-8642-4B5F-8380-9CD710A0C079}" dt="2023-08-15T07:43:20.412" v="1364" actId="478"/>
          <ac:spMkLst>
            <pc:docMk/>
            <pc:sldMk cId="884389446" sldId="2147377178"/>
            <ac:spMk id="1232" creationId="{46E16D5B-0C00-63D6-54BC-C8F28D7CF954}"/>
          </ac:spMkLst>
        </pc:spChg>
        <pc:spChg chg="mod">
          <ac:chgData name="Fatma Alsagaf" userId="ef587b5e-378a-4bb3-aa9f-3c15b98138a4" providerId="ADAL" clId="{EA3EF6B8-8642-4B5F-8380-9CD710A0C079}" dt="2023-08-15T07:43:10.611" v="1358"/>
          <ac:spMkLst>
            <pc:docMk/>
            <pc:sldMk cId="884389446" sldId="2147377178"/>
            <ac:spMk id="1233" creationId="{73D47831-2FF8-B541-F0CC-F1C04470770B}"/>
          </ac:spMkLst>
        </pc:spChg>
        <pc:spChg chg="mod">
          <ac:chgData name="Fatma Alsagaf" userId="ef587b5e-378a-4bb3-aa9f-3c15b98138a4" providerId="ADAL" clId="{EA3EF6B8-8642-4B5F-8380-9CD710A0C079}" dt="2023-08-15T07:47:33.109" v="1450" actId="20577"/>
          <ac:spMkLst>
            <pc:docMk/>
            <pc:sldMk cId="884389446" sldId="2147377178"/>
            <ac:spMk id="1234" creationId="{C21BF11C-16DA-909E-27FC-97E3FEC97866}"/>
          </ac:spMkLst>
        </pc:spChg>
        <pc:spChg chg="mod">
          <ac:chgData name="Fatma Alsagaf" userId="ef587b5e-378a-4bb3-aa9f-3c15b98138a4" providerId="ADAL" clId="{EA3EF6B8-8642-4B5F-8380-9CD710A0C079}" dt="2023-08-15T07:55:33.397" v="1531" actId="14100"/>
          <ac:spMkLst>
            <pc:docMk/>
            <pc:sldMk cId="884389446" sldId="2147377178"/>
            <ac:spMk id="1236" creationId="{C8885B41-ABDD-AFAD-8EC9-A078DFD91425}"/>
          </ac:spMkLst>
        </pc:spChg>
        <pc:spChg chg="mod">
          <ac:chgData name="Fatma Alsagaf" userId="ef587b5e-378a-4bb3-aa9f-3c15b98138a4" providerId="ADAL" clId="{EA3EF6B8-8642-4B5F-8380-9CD710A0C079}" dt="2023-08-15T07:49:49.168" v="1482" actId="207"/>
          <ac:spMkLst>
            <pc:docMk/>
            <pc:sldMk cId="884389446" sldId="2147377178"/>
            <ac:spMk id="1237" creationId="{50AD354D-457B-955D-E3EF-614AA9223050}"/>
          </ac:spMkLst>
        </pc:spChg>
        <pc:spChg chg="mod">
          <ac:chgData name="Fatma Alsagaf" userId="ef587b5e-378a-4bb3-aa9f-3c15b98138a4" providerId="ADAL" clId="{EA3EF6B8-8642-4B5F-8380-9CD710A0C079}" dt="2023-08-15T07:48:30.930" v="1456" actId="207"/>
          <ac:spMkLst>
            <pc:docMk/>
            <pc:sldMk cId="884389446" sldId="2147377178"/>
            <ac:spMk id="1238" creationId="{14F49049-9FB3-B95D-C130-5525BAC8E225}"/>
          </ac:spMkLst>
        </pc:spChg>
        <pc:spChg chg="mod">
          <ac:chgData name="Fatma Alsagaf" userId="ef587b5e-378a-4bb3-aa9f-3c15b98138a4" providerId="ADAL" clId="{EA3EF6B8-8642-4B5F-8380-9CD710A0C079}" dt="2023-08-15T07:56:57.219" v="1589" actId="14100"/>
          <ac:spMkLst>
            <pc:docMk/>
            <pc:sldMk cId="884389446" sldId="2147377178"/>
            <ac:spMk id="1239" creationId="{64D81084-FAB1-1FA3-0CCF-C685C5E678B5}"/>
          </ac:spMkLst>
        </pc:spChg>
        <pc:spChg chg="mod">
          <ac:chgData name="Fatma Alsagaf" userId="ef587b5e-378a-4bb3-aa9f-3c15b98138a4" providerId="ADAL" clId="{EA3EF6B8-8642-4B5F-8380-9CD710A0C079}" dt="2023-08-15T07:56:50.524" v="1587"/>
          <ac:spMkLst>
            <pc:docMk/>
            <pc:sldMk cId="884389446" sldId="2147377178"/>
            <ac:spMk id="1240" creationId="{09F68519-8EE9-8E74-1EFB-B84065CCA534}"/>
          </ac:spMkLst>
        </pc:spChg>
        <pc:spChg chg="mod">
          <ac:chgData name="Fatma Alsagaf" userId="ef587b5e-378a-4bb3-aa9f-3c15b98138a4" providerId="ADAL" clId="{EA3EF6B8-8642-4B5F-8380-9CD710A0C079}" dt="2023-08-15T07:45:36.756" v="1421"/>
          <ac:spMkLst>
            <pc:docMk/>
            <pc:sldMk cId="884389446" sldId="2147377178"/>
            <ac:spMk id="1241" creationId="{1D71184F-862B-4F18-8AD6-62F1ED56C979}"/>
          </ac:spMkLst>
        </pc:spChg>
        <pc:spChg chg="mod">
          <ac:chgData name="Fatma Alsagaf" userId="ef587b5e-378a-4bb3-aa9f-3c15b98138a4" providerId="ADAL" clId="{EA3EF6B8-8642-4B5F-8380-9CD710A0C079}" dt="2023-08-15T07:47:09.024" v="1442" actId="207"/>
          <ac:spMkLst>
            <pc:docMk/>
            <pc:sldMk cId="884389446" sldId="2147377178"/>
            <ac:spMk id="1242" creationId="{E4BE24B8-410F-0EA2-7CF5-08598FF8BCB9}"/>
          </ac:spMkLst>
        </pc:spChg>
        <pc:spChg chg="add mod">
          <ac:chgData name="Fatma Alsagaf" userId="ef587b5e-378a-4bb3-aa9f-3c15b98138a4" providerId="ADAL" clId="{EA3EF6B8-8642-4B5F-8380-9CD710A0C079}" dt="2023-08-15T07:57:26.406" v="1593" actId="164"/>
          <ac:spMkLst>
            <pc:docMk/>
            <pc:sldMk cId="884389446" sldId="2147377178"/>
            <ac:spMk id="1243" creationId="{42069ED2-CA38-D075-778D-09A80FB4237D}"/>
          </ac:spMkLst>
        </pc:spChg>
        <pc:spChg chg="add mod">
          <ac:chgData name="Fatma Alsagaf" userId="ef587b5e-378a-4bb3-aa9f-3c15b98138a4" providerId="ADAL" clId="{EA3EF6B8-8642-4B5F-8380-9CD710A0C079}" dt="2023-08-15T07:59:39.709" v="1611" actId="164"/>
          <ac:spMkLst>
            <pc:docMk/>
            <pc:sldMk cId="884389446" sldId="2147377178"/>
            <ac:spMk id="1245" creationId="{44B7D8B9-4B95-31F9-CB0B-64E393439074}"/>
          </ac:spMkLst>
        </pc:spChg>
        <pc:spChg chg="add mod">
          <ac:chgData name="Fatma Alsagaf" userId="ef587b5e-378a-4bb3-aa9f-3c15b98138a4" providerId="ADAL" clId="{EA3EF6B8-8642-4B5F-8380-9CD710A0C079}" dt="2023-08-15T07:59:39.709" v="1611" actId="164"/>
          <ac:spMkLst>
            <pc:docMk/>
            <pc:sldMk cId="884389446" sldId="2147377178"/>
            <ac:spMk id="1246" creationId="{BA3A32B2-7FC8-C1F2-E117-A510FD7F969B}"/>
          </ac:spMkLst>
        </pc:spChg>
        <pc:spChg chg="add mod">
          <ac:chgData name="Fatma Alsagaf" userId="ef587b5e-378a-4bb3-aa9f-3c15b98138a4" providerId="ADAL" clId="{EA3EF6B8-8642-4B5F-8380-9CD710A0C079}" dt="2023-08-15T07:59:55.161" v="1612" actId="164"/>
          <ac:spMkLst>
            <pc:docMk/>
            <pc:sldMk cId="884389446" sldId="2147377178"/>
            <ac:spMk id="1247" creationId="{C337FC8D-5117-6F31-7192-15CE883C0A81}"/>
          </ac:spMkLst>
        </pc:spChg>
        <pc:spChg chg="add mod">
          <ac:chgData name="Fatma Alsagaf" userId="ef587b5e-378a-4bb3-aa9f-3c15b98138a4" providerId="ADAL" clId="{EA3EF6B8-8642-4B5F-8380-9CD710A0C079}" dt="2023-08-15T07:59:55.161" v="1612" actId="164"/>
          <ac:spMkLst>
            <pc:docMk/>
            <pc:sldMk cId="884389446" sldId="2147377178"/>
            <ac:spMk id="1248" creationId="{607E6321-F27A-4450-DED0-A686937C78A3}"/>
          </ac:spMkLst>
        </pc:spChg>
        <pc:spChg chg="add mod">
          <ac:chgData name="Fatma Alsagaf" userId="ef587b5e-378a-4bb3-aa9f-3c15b98138a4" providerId="ADAL" clId="{EA3EF6B8-8642-4B5F-8380-9CD710A0C079}" dt="2023-08-15T07:59:11.291" v="1605" actId="1076"/>
          <ac:spMkLst>
            <pc:docMk/>
            <pc:sldMk cId="884389446" sldId="2147377178"/>
            <ac:spMk id="1249" creationId="{FF1F679E-D051-3795-39E9-08564A87DC5C}"/>
          </ac:spMkLst>
        </pc:spChg>
        <pc:spChg chg="add mod">
          <ac:chgData name="Fatma Alsagaf" userId="ef587b5e-378a-4bb3-aa9f-3c15b98138a4" providerId="ADAL" clId="{EA3EF6B8-8642-4B5F-8380-9CD710A0C079}" dt="2023-08-15T07:59:11.291" v="1605" actId="1076"/>
          <ac:spMkLst>
            <pc:docMk/>
            <pc:sldMk cId="884389446" sldId="2147377178"/>
            <ac:spMk id="1250" creationId="{25D6B68F-4BEC-F9AF-F19A-67DF2A67A10B}"/>
          </ac:spMkLst>
        </pc:spChg>
        <pc:spChg chg="add mod">
          <ac:chgData name="Fatma Alsagaf" userId="ef587b5e-378a-4bb3-aa9f-3c15b98138a4" providerId="ADAL" clId="{EA3EF6B8-8642-4B5F-8380-9CD710A0C079}" dt="2023-08-15T07:59:16.604" v="1608" actId="1037"/>
          <ac:spMkLst>
            <pc:docMk/>
            <pc:sldMk cId="884389446" sldId="2147377178"/>
            <ac:spMk id="1251" creationId="{7CE9E3F0-9706-9594-FEB8-BAEFF4DA8349}"/>
          </ac:spMkLst>
        </pc:spChg>
        <pc:spChg chg="add mod">
          <ac:chgData name="Fatma Alsagaf" userId="ef587b5e-378a-4bb3-aa9f-3c15b98138a4" providerId="ADAL" clId="{EA3EF6B8-8642-4B5F-8380-9CD710A0C079}" dt="2023-08-15T07:59:16.604" v="1608" actId="1037"/>
          <ac:spMkLst>
            <pc:docMk/>
            <pc:sldMk cId="884389446" sldId="2147377178"/>
            <ac:spMk id="1252" creationId="{442498DD-7DB1-5657-1EBE-E1190FD9B360}"/>
          </ac:spMkLst>
        </pc:spChg>
        <pc:spChg chg="add mod">
          <ac:chgData name="Fatma Alsagaf" userId="ef587b5e-378a-4bb3-aa9f-3c15b98138a4" providerId="ADAL" clId="{EA3EF6B8-8642-4B5F-8380-9CD710A0C079}" dt="2023-08-15T07:59:27.986" v="1610" actId="1076"/>
          <ac:spMkLst>
            <pc:docMk/>
            <pc:sldMk cId="884389446" sldId="2147377178"/>
            <ac:spMk id="1253" creationId="{1DCA665E-3E10-3BEE-8ACD-DE84BC92D381}"/>
          </ac:spMkLst>
        </pc:spChg>
        <pc:spChg chg="add mod">
          <ac:chgData name="Fatma Alsagaf" userId="ef587b5e-378a-4bb3-aa9f-3c15b98138a4" providerId="ADAL" clId="{EA3EF6B8-8642-4B5F-8380-9CD710A0C079}" dt="2023-08-15T07:59:27.986" v="1610" actId="1076"/>
          <ac:spMkLst>
            <pc:docMk/>
            <pc:sldMk cId="884389446" sldId="2147377178"/>
            <ac:spMk id="1254" creationId="{C6DAFC9D-8E1C-9D98-03EB-CBC5798D68B8}"/>
          </ac:spMkLst>
        </pc:spChg>
        <pc:grpChg chg="add del mod">
          <ac:chgData name="Fatma Alsagaf" userId="ef587b5e-378a-4bb3-aa9f-3c15b98138a4" providerId="ADAL" clId="{EA3EF6B8-8642-4B5F-8380-9CD710A0C079}" dt="2023-08-15T05:15:48.208" v="901"/>
          <ac:grpSpMkLst>
            <pc:docMk/>
            <pc:sldMk cId="884389446" sldId="2147377178"/>
            <ac:grpSpMk id="26" creationId="{5DE0CE79-4497-51D6-9751-590A0AE3EFB4}"/>
          </ac:grpSpMkLst>
        </pc:grpChg>
        <pc:grpChg chg="add mod">
          <ac:chgData name="Fatma Alsagaf" userId="ef587b5e-378a-4bb3-aa9f-3c15b98138a4" providerId="ADAL" clId="{EA3EF6B8-8642-4B5F-8380-9CD710A0C079}" dt="2023-08-15T05:38:29.968" v="1149" actId="164"/>
          <ac:grpSpMkLst>
            <pc:docMk/>
            <pc:sldMk cId="884389446" sldId="2147377178"/>
            <ac:grpSpMk id="37" creationId="{6FB7F9A6-16F9-BB89-67E9-2C9C1EACF84C}"/>
          </ac:grpSpMkLst>
        </pc:grpChg>
        <pc:grpChg chg="add mod">
          <ac:chgData name="Fatma Alsagaf" userId="ef587b5e-378a-4bb3-aa9f-3c15b98138a4" providerId="ADAL" clId="{EA3EF6B8-8642-4B5F-8380-9CD710A0C079}" dt="2023-08-15T05:38:38.803" v="1150" actId="164"/>
          <ac:grpSpMkLst>
            <pc:docMk/>
            <pc:sldMk cId="884389446" sldId="2147377178"/>
            <ac:grpSpMk id="48" creationId="{7BBF7429-E020-CE5A-F38A-76BC3F2EA7E6}"/>
          </ac:grpSpMkLst>
        </pc:grpChg>
        <pc:grpChg chg="add mod">
          <ac:chgData name="Fatma Alsagaf" userId="ef587b5e-378a-4bb3-aa9f-3c15b98138a4" providerId="ADAL" clId="{EA3EF6B8-8642-4B5F-8380-9CD710A0C079}" dt="2023-08-15T05:38:44.324" v="1151" actId="164"/>
          <ac:grpSpMkLst>
            <pc:docMk/>
            <pc:sldMk cId="884389446" sldId="2147377178"/>
            <ac:grpSpMk id="62" creationId="{4A54930B-EF0B-AEC5-7A77-205210FCAFDC}"/>
          </ac:grpSpMkLst>
        </pc:grpChg>
        <pc:grpChg chg="add mod">
          <ac:chgData name="Fatma Alsagaf" userId="ef587b5e-378a-4bb3-aa9f-3c15b98138a4" providerId="ADAL" clId="{EA3EF6B8-8642-4B5F-8380-9CD710A0C079}" dt="2023-08-15T05:23:00.346" v="996" actId="571"/>
          <ac:grpSpMkLst>
            <pc:docMk/>
            <pc:sldMk cId="884389446" sldId="2147377178"/>
            <ac:grpSpMk id="70" creationId="{A6C2C370-AA75-292F-D02A-C5F7DD7CF8D8}"/>
          </ac:grpSpMkLst>
        </pc:grpChg>
        <pc:grpChg chg="add del mod">
          <ac:chgData name="Fatma Alsagaf" userId="ef587b5e-378a-4bb3-aa9f-3c15b98138a4" providerId="ADAL" clId="{EA3EF6B8-8642-4B5F-8380-9CD710A0C079}" dt="2023-08-15T05:29:00.671" v="1080"/>
          <ac:grpSpMkLst>
            <pc:docMk/>
            <pc:sldMk cId="884389446" sldId="2147377178"/>
            <ac:grpSpMk id="81" creationId="{729353BF-AE16-2F65-DACF-35E5EE691A77}"/>
          </ac:grpSpMkLst>
        </pc:grpChg>
        <pc:grpChg chg="add del">
          <ac:chgData name="Fatma Alsagaf" userId="ef587b5e-378a-4bb3-aa9f-3c15b98138a4" providerId="ADAL" clId="{EA3EF6B8-8642-4B5F-8380-9CD710A0C079}" dt="2023-08-15T04:43:13.859" v="557" actId="478"/>
          <ac:grpSpMkLst>
            <pc:docMk/>
            <pc:sldMk cId="884389446" sldId="2147377178"/>
            <ac:grpSpMk id="86" creationId="{C80E072A-8B60-3B12-4760-71B8E2E8E92E}"/>
          </ac:grpSpMkLst>
        </pc:grpChg>
        <pc:grpChg chg="add del mod">
          <ac:chgData name="Fatma Alsagaf" userId="ef587b5e-378a-4bb3-aa9f-3c15b98138a4" providerId="ADAL" clId="{EA3EF6B8-8642-4B5F-8380-9CD710A0C079}" dt="2023-08-15T05:29:00.671" v="1080"/>
          <ac:grpSpMkLst>
            <pc:docMk/>
            <pc:sldMk cId="884389446" sldId="2147377178"/>
            <ac:grpSpMk id="88" creationId="{41EA777E-D2E7-135E-7A10-068D56BF106B}"/>
          </ac:grpSpMkLst>
        </pc:grpChg>
        <pc:grpChg chg="add del mod">
          <ac:chgData name="Fatma Alsagaf" userId="ef587b5e-378a-4bb3-aa9f-3c15b98138a4" providerId="ADAL" clId="{EA3EF6B8-8642-4B5F-8380-9CD710A0C079}" dt="2023-08-15T05:29:00.671" v="1080"/>
          <ac:grpSpMkLst>
            <pc:docMk/>
            <pc:sldMk cId="884389446" sldId="2147377178"/>
            <ac:grpSpMk id="97" creationId="{1C4525F1-BD25-A31A-2ACA-9A862B4DF53E}"/>
          </ac:grpSpMkLst>
        </pc:grpChg>
        <pc:grpChg chg="add del mod">
          <ac:chgData name="Fatma Alsagaf" userId="ef587b5e-378a-4bb3-aa9f-3c15b98138a4" providerId="ADAL" clId="{EA3EF6B8-8642-4B5F-8380-9CD710A0C079}" dt="2023-08-15T05:38:13.953" v="1148" actId="478"/>
          <ac:grpSpMkLst>
            <pc:docMk/>
            <pc:sldMk cId="884389446" sldId="2147377178"/>
            <ac:grpSpMk id="103" creationId="{445249AC-C7C7-A7C5-5CFE-E5D295EEFB16}"/>
          </ac:grpSpMkLst>
        </pc:grpChg>
        <pc:grpChg chg="add del mod">
          <ac:chgData name="Fatma Alsagaf" userId="ef587b5e-378a-4bb3-aa9f-3c15b98138a4" providerId="ADAL" clId="{EA3EF6B8-8642-4B5F-8380-9CD710A0C079}" dt="2023-08-15T05:38:13.953" v="1148" actId="478"/>
          <ac:grpSpMkLst>
            <pc:docMk/>
            <pc:sldMk cId="884389446" sldId="2147377178"/>
            <ac:grpSpMk id="109" creationId="{F23F20ED-B37A-02C3-4D2A-358F108767F5}"/>
          </ac:grpSpMkLst>
        </pc:grpChg>
        <pc:grpChg chg="add del mod">
          <ac:chgData name="Fatma Alsagaf" userId="ef587b5e-378a-4bb3-aa9f-3c15b98138a4" providerId="ADAL" clId="{EA3EF6B8-8642-4B5F-8380-9CD710A0C079}" dt="2023-08-15T05:38:13.953" v="1148" actId="478"/>
          <ac:grpSpMkLst>
            <pc:docMk/>
            <pc:sldMk cId="884389446" sldId="2147377178"/>
            <ac:grpSpMk id="115" creationId="{3074F89B-67DD-0FDC-3C66-4875B57F9CBB}"/>
          </ac:grpSpMkLst>
        </pc:grpChg>
        <pc:grpChg chg="add mod">
          <ac:chgData name="Fatma Alsagaf" userId="ef587b5e-378a-4bb3-aa9f-3c15b98138a4" providerId="ADAL" clId="{EA3EF6B8-8642-4B5F-8380-9CD710A0C079}" dt="2023-08-15T05:51:54.572" v="1225" actId="1076"/>
          <ac:grpSpMkLst>
            <pc:docMk/>
            <pc:sldMk cId="884389446" sldId="2147377178"/>
            <ac:grpSpMk id="1028" creationId="{A15CDEE9-C59B-43C4-6EDE-A3F4485BF4ED}"/>
          </ac:grpSpMkLst>
        </pc:grpChg>
        <pc:grpChg chg="add mod">
          <ac:chgData name="Fatma Alsagaf" userId="ef587b5e-378a-4bb3-aa9f-3c15b98138a4" providerId="ADAL" clId="{EA3EF6B8-8642-4B5F-8380-9CD710A0C079}" dt="2023-08-15T05:51:54.572" v="1225" actId="1076"/>
          <ac:grpSpMkLst>
            <pc:docMk/>
            <pc:sldMk cId="884389446" sldId="2147377178"/>
            <ac:grpSpMk id="1029" creationId="{6AAB5D59-EB72-24D2-26A8-93D8C5B3BB64}"/>
          </ac:grpSpMkLst>
        </pc:grpChg>
        <pc:grpChg chg="add del">
          <ac:chgData name="Fatma Alsagaf" userId="ef587b5e-378a-4bb3-aa9f-3c15b98138a4" providerId="ADAL" clId="{EA3EF6B8-8642-4B5F-8380-9CD710A0C079}" dt="2023-08-15T04:43:13.859" v="557" actId="478"/>
          <ac:grpSpMkLst>
            <pc:docMk/>
            <pc:sldMk cId="884389446" sldId="2147377178"/>
            <ac:grpSpMk id="1031" creationId="{61345BDD-B9EB-294E-4D1D-BD26FF26BE05}"/>
          </ac:grpSpMkLst>
        </pc:grpChg>
        <pc:grpChg chg="add mod">
          <ac:chgData name="Fatma Alsagaf" userId="ef587b5e-378a-4bb3-aa9f-3c15b98138a4" providerId="ADAL" clId="{EA3EF6B8-8642-4B5F-8380-9CD710A0C079}" dt="2023-08-15T05:51:54.572" v="1225" actId="1076"/>
          <ac:grpSpMkLst>
            <pc:docMk/>
            <pc:sldMk cId="884389446" sldId="2147377178"/>
            <ac:grpSpMk id="1043" creationId="{B4936587-C9F6-F0D8-5811-C5D8119FADA2}"/>
          </ac:grpSpMkLst>
        </pc:grpChg>
        <pc:grpChg chg="add del">
          <ac:chgData name="Fatma Alsagaf" userId="ef587b5e-378a-4bb3-aa9f-3c15b98138a4" providerId="ADAL" clId="{EA3EF6B8-8642-4B5F-8380-9CD710A0C079}" dt="2023-08-15T04:43:13.859" v="557" actId="478"/>
          <ac:grpSpMkLst>
            <pc:docMk/>
            <pc:sldMk cId="884389446" sldId="2147377178"/>
            <ac:grpSpMk id="1061" creationId="{3B4DFB95-DBCA-0A25-B08E-7542AB460D07}"/>
          </ac:grpSpMkLst>
        </pc:grpChg>
        <pc:grpChg chg="add del mod">
          <ac:chgData name="Fatma Alsagaf" userId="ef587b5e-378a-4bb3-aa9f-3c15b98138a4" providerId="ADAL" clId="{EA3EF6B8-8642-4B5F-8380-9CD710A0C079}" dt="2023-08-15T05:36:36.326" v="1140" actId="478"/>
          <ac:grpSpMkLst>
            <pc:docMk/>
            <pc:sldMk cId="884389446" sldId="2147377178"/>
            <ac:grpSpMk id="1068" creationId="{CC18BE6B-2860-610E-40DE-5FAC19EAFADE}"/>
          </ac:grpSpMkLst>
        </pc:grpChg>
        <pc:grpChg chg="add mod">
          <ac:chgData name="Fatma Alsagaf" userId="ef587b5e-378a-4bb3-aa9f-3c15b98138a4" providerId="ADAL" clId="{EA3EF6B8-8642-4B5F-8380-9CD710A0C079}" dt="2023-08-15T07:57:26.406" v="1593" actId="164"/>
          <ac:grpSpMkLst>
            <pc:docMk/>
            <pc:sldMk cId="884389446" sldId="2147377178"/>
            <ac:grpSpMk id="1073" creationId="{FB031AB7-263C-F507-5092-52C3F04CCB24}"/>
          </ac:grpSpMkLst>
        </pc:grpChg>
        <pc:grpChg chg="add mod">
          <ac:chgData name="Fatma Alsagaf" userId="ef587b5e-378a-4bb3-aa9f-3c15b98138a4" providerId="ADAL" clId="{EA3EF6B8-8642-4B5F-8380-9CD710A0C079}" dt="2023-08-15T07:59:39.709" v="1611" actId="164"/>
          <ac:grpSpMkLst>
            <pc:docMk/>
            <pc:sldMk cId="884389446" sldId="2147377178"/>
            <ac:grpSpMk id="1076" creationId="{15058FF2-13BD-BD74-D606-8BFE8C50FDD2}"/>
          </ac:grpSpMkLst>
        </pc:grpChg>
        <pc:grpChg chg="add mod">
          <ac:chgData name="Fatma Alsagaf" userId="ef587b5e-378a-4bb3-aa9f-3c15b98138a4" providerId="ADAL" clId="{EA3EF6B8-8642-4B5F-8380-9CD710A0C079}" dt="2023-08-15T05:39:10.915" v="1156" actId="164"/>
          <ac:grpSpMkLst>
            <pc:docMk/>
            <pc:sldMk cId="884389446" sldId="2147377178"/>
            <ac:grpSpMk id="1081" creationId="{F08C1AD2-A9C5-47A8-2380-FCB82C6B697C}"/>
          </ac:grpSpMkLst>
        </pc:grpChg>
        <pc:grpChg chg="add del mod">
          <ac:chgData name="Fatma Alsagaf" userId="ef587b5e-378a-4bb3-aa9f-3c15b98138a4" providerId="ADAL" clId="{EA3EF6B8-8642-4B5F-8380-9CD710A0C079}" dt="2023-08-15T05:39:05.169" v="1155"/>
          <ac:grpSpMkLst>
            <pc:docMk/>
            <pc:sldMk cId="884389446" sldId="2147377178"/>
            <ac:grpSpMk id="1082" creationId="{F1CFEBE5-1900-B057-C475-B7A393903FBE}"/>
          </ac:grpSpMkLst>
        </pc:grpChg>
        <pc:grpChg chg="add del mod">
          <ac:chgData name="Fatma Alsagaf" userId="ef587b5e-378a-4bb3-aa9f-3c15b98138a4" providerId="ADAL" clId="{EA3EF6B8-8642-4B5F-8380-9CD710A0C079}" dt="2023-08-15T05:39:05.169" v="1155"/>
          <ac:grpSpMkLst>
            <pc:docMk/>
            <pc:sldMk cId="884389446" sldId="2147377178"/>
            <ac:grpSpMk id="1090" creationId="{90084247-CCEA-18A9-E5DA-285CDAC0C01A}"/>
          </ac:grpSpMkLst>
        </pc:grpChg>
        <pc:grpChg chg="mod">
          <ac:chgData name="Fatma Alsagaf" userId="ef587b5e-378a-4bb3-aa9f-3c15b98138a4" providerId="ADAL" clId="{EA3EF6B8-8642-4B5F-8380-9CD710A0C079}" dt="2023-08-15T05:38:54.101" v="1152"/>
          <ac:grpSpMkLst>
            <pc:docMk/>
            <pc:sldMk cId="884389446" sldId="2147377178"/>
            <ac:grpSpMk id="1092" creationId="{FF8EB1FB-FFCB-047A-E1D1-28170779A372}"/>
          </ac:grpSpMkLst>
        </pc:grpChg>
        <pc:grpChg chg="add del mod">
          <ac:chgData name="Fatma Alsagaf" userId="ef587b5e-378a-4bb3-aa9f-3c15b98138a4" providerId="ADAL" clId="{EA3EF6B8-8642-4B5F-8380-9CD710A0C079}" dt="2023-08-15T05:39:05.169" v="1155"/>
          <ac:grpSpMkLst>
            <pc:docMk/>
            <pc:sldMk cId="884389446" sldId="2147377178"/>
            <ac:grpSpMk id="1097" creationId="{D140A7F2-DEB5-079E-193C-55DD82CD83D3}"/>
          </ac:grpSpMkLst>
        </pc:grpChg>
        <pc:grpChg chg="mod">
          <ac:chgData name="Fatma Alsagaf" userId="ef587b5e-378a-4bb3-aa9f-3c15b98138a4" providerId="ADAL" clId="{EA3EF6B8-8642-4B5F-8380-9CD710A0C079}" dt="2023-08-15T05:38:54.101" v="1152"/>
          <ac:grpSpMkLst>
            <pc:docMk/>
            <pc:sldMk cId="884389446" sldId="2147377178"/>
            <ac:grpSpMk id="1099" creationId="{9206422D-8AAE-7F35-81A5-E39F484F5797}"/>
          </ac:grpSpMkLst>
        </pc:grpChg>
        <pc:grpChg chg="add del mod">
          <ac:chgData name="Fatma Alsagaf" userId="ef587b5e-378a-4bb3-aa9f-3c15b98138a4" providerId="ADAL" clId="{EA3EF6B8-8642-4B5F-8380-9CD710A0C079}" dt="2023-08-15T05:39:05.169" v="1155"/>
          <ac:grpSpMkLst>
            <pc:docMk/>
            <pc:sldMk cId="884389446" sldId="2147377178"/>
            <ac:grpSpMk id="1104" creationId="{6AAF5E95-2236-D989-C590-49E5326066B0}"/>
          </ac:grpSpMkLst>
        </pc:grpChg>
        <pc:grpChg chg="mod">
          <ac:chgData name="Fatma Alsagaf" userId="ef587b5e-378a-4bb3-aa9f-3c15b98138a4" providerId="ADAL" clId="{EA3EF6B8-8642-4B5F-8380-9CD710A0C079}" dt="2023-08-15T05:38:54.101" v="1152"/>
          <ac:grpSpMkLst>
            <pc:docMk/>
            <pc:sldMk cId="884389446" sldId="2147377178"/>
            <ac:grpSpMk id="1106" creationId="{A7D6486E-A0BF-D073-9EB9-4EFC86B4771E}"/>
          </ac:grpSpMkLst>
        </pc:grpChg>
        <pc:grpChg chg="add del mod">
          <ac:chgData name="Fatma Alsagaf" userId="ef587b5e-378a-4bb3-aa9f-3c15b98138a4" providerId="ADAL" clId="{EA3EF6B8-8642-4B5F-8380-9CD710A0C079}" dt="2023-08-15T05:39:05.169" v="1155"/>
          <ac:grpSpMkLst>
            <pc:docMk/>
            <pc:sldMk cId="884389446" sldId="2147377178"/>
            <ac:grpSpMk id="1110" creationId="{598F6604-B86C-B8DF-AD89-0EBF0C8C6CA6}"/>
          </ac:grpSpMkLst>
        </pc:grpChg>
        <pc:grpChg chg="add del mod">
          <ac:chgData name="Fatma Alsagaf" userId="ef587b5e-378a-4bb3-aa9f-3c15b98138a4" providerId="ADAL" clId="{EA3EF6B8-8642-4B5F-8380-9CD710A0C079}" dt="2023-08-15T05:39:05.169" v="1155"/>
          <ac:grpSpMkLst>
            <pc:docMk/>
            <pc:sldMk cId="884389446" sldId="2147377178"/>
            <ac:grpSpMk id="1114" creationId="{E89C92DC-D209-17F2-46BB-C701DBA82324}"/>
          </ac:grpSpMkLst>
        </pc:grpChg>
        <pc:grpChg chg="add mod">
          <ac:chgData name="Fatma Alsagaf" userId="ef587b5e-378a-4bb3-aa9f-3c15b98138a4" providerId="ADAL" clId="{EA3EF6B8-8642-4B5F-8380-9CD710A0C079}" dt="2023-08-15T07:59:55.161" v="1612" actId="164"/>
          <ac:grpSpMkLst>
            <pc:docMk/>
            <pc:sldMk cId="884389446" sldId="2147377178"/>
            <ac:grpSpMk id="1118" creationId="{856C7A36-D0EC-7D76-64D9-6D8CE5257264}"/>
          </ac:grpSpMkLst>
        </pc:grpChg>
        <pc:grpChg chg="add mod">
          <ac:chgData name="Fatma Alsagaf" userId="ef587b5e-378a-4bb3-aa9f-3c15b98138a4" providerId="ADAL" clId="{EA3EF6B8-8642-4B5F-8380-9CD710A0C079}" dt="2023-08-15T05:51:54.572" v="1225" actId="1076"/>
          <ac:grpSpMkLst>
            <pc:docMk/>
            <pc:sldMk cId="884389446" sldId="2147377178"/>
            <ac:grpSpMk id="1119" creationId="{583DCB4B-3977-5F53-B9AD-44263B21EC64}"/>
          </ac:grpSpMkLst>
        </pc:grpChg>
        <pc:grpChg chg="add mod">
          <ac:chgData name="Fatma Alsagaf" userId="ef587b5e-378a-4bb3-aa9f-3c15b98138a4" providerId="ADAL" clId="{EA3EF6B8-8642-4B5F-8380-9CD710A0C079}" dt="2023-08-15T05:51:54.572" v="1225" actId="1076"/>
          <ac:grpSpMkLst>
            <pc:docMk/>
            <pc:sldMk cId="884389446" sldId="2147377178"/>
            <ac:grpSpMk id="1123" creationId="{740F60AC-766E-C755-B0BD-F832B4C47E2B}"/>
          </ac:grpSpMkLst>
        </pc:grpChg>
        <pc:grpChg chg="mod">
          <ac:chgData name="Fatma Alsagaf" userId="ef587b5e-378a-4bb3-aa9f-3c15b98138a4" providerId="ADAL" clId="{EA3EF6B8-8642-4B5F-8380-9CD710A0C079}" dt="2023-08-15T05:39:16.741" v="1157"/>
          <ac:grpSpMkLst>
            <pc:docMk/>
            <pc:sldMk cId="884389446" sldId="2147377178"/>
            <ac:grpSpMk id="1125" creationId="{52AD1B78-7537-29F2-A913-F15F3CFC6998}"/>
          </ac:grpSpMkLst>
        </pc:grpChg>
        <pc:grpChg chg="add mod">
          <ac:chgData name="Fatma Alsagaf" userId="ef587b5e-378a-4bb3-aa9f-3c15b98138a4" providerId="ADAL" clId="{EA3EF6B8-8642-4B5F-8380-9CD710A0C079}" dt="2023-08-15T05:51:54.572" v="1225" actId="1076"/>
          <ac:grpSpMkLst>
            <pc:docMk/>
            <pc:sldMk cId="884389446" sldId="2147377178"/>
            <ac:grpSpMk id="1130" creationId="{C2B2F393-8FAF-A62E-5F6D-D28AD85E7912}"/>
          </ac:grpSpMkLst>
        </pc:grpChg>
        <pc:grpChg chg="mod">
          <ac:chgData name="Fatma Alsagaf" userId="ef587b5e-378a-4bb3-aa9f-3c15b98138a4" providerId="ADAL" clId="{EA3EF6B8-8642-4B5F-8380-9CD710A0C079}" dt="2023-08-15T05:39:16.741" v="1157"/>
          <ac:grpSpMkLst>
            <pc:docMk/>
            <pc:sldMk cId="884389446" sldId="2147377178"/>
            <ac:grpSpMk id="1132" creationId="{4143FD40-CEFF-D9D5-8ED5-FF3E6CCB7714}"/>
          </ac:grpSpMkLst>
        </pc:grpChg>
        <pc:grpChg chg="add mod">
          <ac:chgData name="Fatma Alsagaf" userId="ef587b5e-378a-4bb3-aa9f-3c15b98138a4" providerId="ADAL" clId="{EA3EF6B8-8642-4B5F-8380-9CD710A0C079}" dt="2023-08-15T05:51:54.572" v="1225" actId="1076"/>
          <ac:grpSpMkLst>
            <pc:docMk/>
            <pc:sldMk cId="884389446" sldId="2147377178"/>
            <ac:grpSpMk id="1137" creationId="{FB7B2371-E14E-BC2B-F649-FBF90FC5BD60}"/>
          </ac:grpSpMkLst>
        </pc:grpChg>
        <pc:grpChg chg="mod">
          <ac:chgData name="Fatma Alsagaf" userId="ef587b5e-378a-4bb3-aa9f-3c15b98138a4" providerId="ADAL" clId="{EA3EF6B8-8642-4B5F-8380-9CD710A0C079}" dt="2023-08-15T05:39:16.741" v="1157"/>
          <ac:grpSpMkLst>
            <pc:docMk/>
            <pc:sldMk cId="884389446" sldId="2147377178"/>
            <ac:grpSpMk id="1138" creationId="{22BFC949-65E8-8872-4C63-2CA1AEC569E5}"/>
          </ac:grpSpMkLst>
        </pc:grpChg>
        <pc:grpChg chg="mod">
          <ac:chgData name="Fatma Alsagaf" userId="ef587b5e-378a-4bb3-aa9f-3c15b98138a4" providerId="ADAL" clId="{EA3EF6B8-8642-4B5F-8380-9CD710A0C079}" dt="2023-08-15T05:39:16.741" v="1157"/>
          <ac:grpSpMkLst>
            <pc:docMk/>
            <pc:sldMk cId="884389446" sldId="2147377178"/>
            <ac:grpSpMk id="1141" creationId="{854A2012-E356-F3B2-C757-0A5651AE0DF7}"/>
          </ac:grpSpMkLst>
        </pc:grpChg>
        <pc:grpChg chg="add mod">
          <ac:chgData name="Fatma Alsagaf" userId="ef587b5e-378a-4bb3-aa9f-3c15b98138a4" providerId="ADAL" clId="{EA3EF6B8-8642-4B5F-8380-9CD710A0C079}" dt="2023-08-15T05:51:54.572" v="1225" actId="1076"/>
          <ac:grpSpMkLst>
            <pc:docMk/>
            <pc:sldMk cId="884389446" sldId="2147377178"/>
            <ac:grpSpMk id="1145" creationId="{6B3B6BDE-5774-4697-59C8-1B424CBF9DFB}"/>
          </ac:grpSpMkLst>
        </pc:grpChg>
        <pc:grpChg chg="add mod">
          <ac:chgData name="Fatma Alsagaf" userId="ef587b5e-378a-4bb3-aa9f-3c15b98138a4" providerId="ADAL" clId="{EA3EF6B8-8642-4B5F-8380-9CD710A0C079}" dt="2023-08-15T05:51:54.572" v="1225" actId="1076"/>
          <ac:grpSpMkLst>
            <pc:docMk/>
            <pc:sldMk cId="884389446" sldId="2147377178"/>
            <ac:grpSpMk id="1149" creationId="{1BBB1073-62E0-DE3E-8B46-B3D80357C2F7}"/>
          </ac:grpSpMkLst>
        </pc:grpChg>
        <pc:grpChg chg="add mod">
          <ac:chgData name="Fatma Alsagaf" userId="ef587b5e-378a-4bb3-aa9f-3c15b98138a4" providerId="ADAL" clId="{EA3EF6B8-8642-4B5F-8380-9CD710A0C079}" dt="2023-08-15T05:48:13.026" v="1209" actId="164"/>
          <ac:grpSpMkLst>
            <pc:docMk/>
            <pc:sldMk cId="884389446" sldId="2147377178"/>
            <ac:grpSpMk id="1153" creationId="{A181F933-7094-44DB-2C53-2B4A0C845A9F}"/>
          </ac:grpSpMkLst>
        </pc:grpChg>
        <pc:grpChg chg="mod">
          <ac:chgData name="Fatma Alsagaf" userId="ef587b5e-378a-4bb3-aa9f-3c15b98138a4" providerId="ADAL" clId="{EA3EF6B8-8642-4B5F-8380-9CD710A0C079}" dt="2023-08-15T05:41:31.845" v="1172" actId="1076"/>
          <ac:grpSpMkLst>
            <pc:docMk/>
            <pc:sldMk cId="884389446" sldId="2147377178"/>
            <ac:grpSpMk id="1154" creationId="{667A4BAF-C25F-696B-04C8-9299FEAB9280}"/>
          </ac:grpSpMkLst>
        </pc:grpChg>
        <pc:grpChg chg="add mod">
          <ac:chgData name="Fatma Alsagaf" userId="ef587b5e-378a-4bb3-aa9f-3c15b98138a4" providerId="ADAL" clId="{EA3EF6B8-8642-4B5F-8380-9CD710A0C079}" dt="2023-08-15T05:48:22.742" v="1210" actId="164"/>
          <ac:grpSpMkLst>
            <pc:docMk/>
            <pc:sldMk cId="884389446" sldId="2147377178"/>
            <ac:grpSpMk id="1176" creationId="{9C7EB764-AC4C-CAE9-9CA3-6C20D68F4DF8}"/>
          </ac:grpSpMkLst>
        </pc:grpChg>
        <pc:grpChg chg="add mod">
          <ac:chgData name="Fatma Alsagaf" userId="ef587b5e-378a-4bb3-aa9f-3c15b98138a4" providerId="ADAL" clId="{EA3EF6B8-8642-4B5F-8380-9CD710A0C079}" dt="2023-08-15T05:47:58.185" v="1208" actId="164"/>
          <ac:grpSpMkLst>
            <pc:docMk/>
            <pc:sldMk cId="884389446" sldId="2147377178"/>
            <ac:grpSpMk id="1177" creationId="{9B9B601F-C056-F61A-CB72-E631C475B617}"/>
          </ac:grpSpMkLst>
        </pc:grpChg>
        <pc:grpChg chg="add mod">
          <ac:chgData name="Fatma Alsagaf" userId="ef587b5e-378a-4bb3-aa9f-3c15b98138a4" providerId="ADAL" clId="{EA3EF6B8-8642-4B5F-8380-9CD710A0C079}" dt="2023-08-15T05:47:49.241" v="1207" actId="164"/>
          <ac:grpSpMkLst>
            <pc:docMk/>
            <pc:sldMk cId="884389446" sldId="2147377178"/>
            <ac:grpSpMk id="1178" creationId="{585517C0-BF1E-B25F-D847-B59FC3C07D87}"/>
          </ac:grpSpMkLst>
        </pc:grpChg>
        <pc:grpChg chg="add mod">
          <ac:chgData name="Fatma Alsagaf" userId="ef587b5e-378a-4bb3-aa9f-3c15b98138a4" providerId="ADAL" clId="{EA3EF6B8-8642-4B5F-8380-9CD710A0C079}" dt="2023-08-15T05:48:35.252" v="1211" actId="1076"/>
          <ac:grpSpMkLst>
            <pc:docMk/>
            <pc:sldMk cId="884389446" sldId="2147377178"/>
            <ac:grpSpMk id="1181" creationId="{B1620E89-4FFF-C3DA-DF5E-AD1ADCB395DD}"/>
          </ac:grpSpMkLst>
        </pc:grpChg>
        <pc:grpChg chg="add mod">
          <ac:chgData name="Fatma Alsagaf" userId="ef587b5e-378a-4bb3-aa9f-3c15b98138a4" providerId="ADAL" clId="{EA3EF6B8-8642-4B5F-8380-9CD710A0C079}" dt="2023-08-15T05:48:45.796" v="1214" actId="1076"/>
          <ac:grpSpMkLst>
            <pc:docMk/>
            <pc:sldMk cId="884389446" sldId="2147377178"/>
            <ac:grpSpMk id="1182" creationId="{280C4AEB-C8A3-0B2E-8965-F430C38DC6FC}"/>
          </ac:grpSpMkLst>
        </pc:grpChg>
        <pc:grpChg chg="add mod">
          <ac:chgData name="Fatma Alsagaf" userId="ef587b5e-378a-4bb3-aa9f-3c15b98138a4" providerId="ADAL" clId="{EA3EF6B8-8642-4B5F-8380-9CD710A0C079}" dt="2023-08-15T05:49:18.817" v="1218" actId="1076"/>
          <ac:grpSpMkLst>
            <pc:docMk/>
            <pc:sldMk cId="884389446" sldId="2147377178"/>
            <ac:grpSpMk id="1183" creationId="{5705A7C9-FAB7-8006-E407-1824A6F1C466}"/>
          </ac:grpSpMkLst>
        </pc:grpChg>
        <pc:grpChg chg="add mod">
          <ac:chgData name="Fatma Alsagaf" userId="ef587b5e-378a-4bb3-aa9f-3c15b98138a4" providerId="ADAL" clId="{EA3EF6B8-8642-4B5F-8380-9CD710A0C079}" dt="2023-08-15T05:49:25.665" v="1219" actId="1076"/>
          <ac:grpSpMkLst>
            <pc:docMk/>
            <pc:sldMk cId="884389446" sldId="2147377178"/>
            <ac:grpSpMk id="1184" creationId="{CB29AF69-F5F7-6C97-2653-F8DC5DFB373B}"/>
          </ac:grpSpMkLst>
        </pc:grpChg>
        <pc:grpChg chg="add mod">
          <ac:chgData name="Fatma Alsagaf" userId="ef587b5e-378a-4bb3-aa9f-3c15b98138a4" providerId="ADAL" clId="{EA3EF6B8-8642-4B5F-8380-9CD710A0C079}" dt="2023-08-15T05:54:59.617" v="1234" actId="164"/>
          <ac:grpSpMkLst>
            <pc:docMk/>
            <pc:sldMk cId="884389446" sldId="2147377178"/>
            <ac:grpSpMk id="1187" creationId="{F77AA1EA-F805-8471-A509-BD513F032567}"/>
          </ac:grpSpMkLst>
        </pc:grpChg>
        <pc:grpChg chg="add mod">
          <ac:chgData name="Fatma Alsagaf" userId="ef587b5e-378a-4bb3-aa9f-3c15b98138a4" providerId="ADAL" clId="{EA3EF6B8-8642-4B5F-8380-9CD710A0C079}" dt="2023-08-15T10:42:49.954" v="2359" actId="14100"/>
          <ac:grpSpMkLst>
            <pc:docMk/>
            <pc:sldMk cId="884389446" sldId="2147377178"/>
            <ac:grpSpMk id="1197" creationId="{6FEB6170-66DB-0167-0415-91C9160D75B3}"/>
          </ac:grpSpMkLst>
        </pc:grpChg>
        <pc:grpChg chg="add del mod">
          <ac:chgData name="Fatma Alsagaf" userId="ef587b5e-378a-4bb3-aa9f-3c15b98138a4" providerId="ADAL" clId="{EA3EF6B8-8642-4B5F-8380-9CD710A0C079}" dt="2023-08-15T07:17:12.429" v="1243"/>
          <ac:grpSpMkLst>
            <pc:docMk/>
            <pc:sldMk cId="884389446" sldId="2147377178"/>
            <ac:grpSpMk id="1204" creationId="{EE82E153-6D01-B259-68E5-6A5AAAC56555}"/>
          </ac:grpSpMkLst>
        </pc:grpChg>
        <pc:grpChg chg="add del mod ord">
          <ac:chgData name="Fatma Alsagaf" userId="ef587b5e-378a-4bb3-aa9f-3c15b98138a4" providerId="ADAL" clId="{EA3EF6B8-8642-4B5F-8380-9CD710A0C079}" dt="2023-08-15T09:54:40.156" v="2117" actId="164"/>
          <ac:grpSpMkLst>
            <pc:docMk/>
            <pc:sldMk cId="884389446" sldId="2147377178"/>
            <ac:grpSpMk id="1212" creationId="{172123FE-0855-2A6B-3DE7-495EA8003110}"/>
          </ac:grpSpMkLst>
        </pc:grpChg>
        <pc:grpChg chg="add del mod">
          <ac:chgData name="Fatma Alsagaf" userId="ef587b5e-378a-4bb3-aa9f-3c15b98138a4" providerId="ADAL" clId="{EA3EF6B8-8642-4B5F-8380-9CD710A0C079}" dt="2023-08-15T07:43:24.952" v="1367" actId="478"/>
          <ac:grpSpMkLst>
            <pc:docMk/>
            <pc:sldMk cId="884389446" sldId="2147377178"/>
            <ac:grpSpMk id="1224" creationId="{EA87FB81-D264-2D42-E86D-C11063BA3AA8}"/>
          </ac:grpSpMkLst>
        </pc:grpChg>
        <pc:grpChg chg="mod topLvl">
          <ac:chgData name="Fatma Alsagaf" userId="ef587b5e-378a-4bb3-aa9f-3c15b98138a4" providerId="ADAL" clId="{EA3EF6B8-8642-4B5F-8380-9CD710A0C079}" dt="2023-08-15T09:54:40.156" v="2117" actId="164"/>
          <ac:grpSpMkLst>
            <pc:docMk/>
            <pc:sldMk cId="884389446" sldId="2147377178"/>
            <ac:grpSpMk id="1225" creationId="{DAF0B3C2-1F1F-67F3-D453-54298B4B9CAC}"/>
          </ac:grpSpMkLst>
        </pc:grpChg>
        <pc:grpChg chg="add mod">
          <ac:chgData name="Fatma Alsagaf" userId="ef587b5e-378a-4bb3-aa9f-3c15b98138a4" providerId="ADAL" clId="{EA3EF6B8-8642-4B5F-8380-9CD710A0C079}" dt="2023-08-15T09:54:40.156" v="2117" actId="164"/>
          <ac:grpSpMkLst>
            <pc:docMk/>
            <pc:sldMk cId="884389446" sldId="2147377178"/>
            <ac:grpSpMk id="1235" creationId="{52C61586-7F4B-91B9-5010-8300C38F76F2}"/>
          </ac:grpSpMkLst>
        </pc:grpChg>
        <pc:grpChg chg="add mod">
          <ac:chgData name="Fatma Alsagaf" userId="ef587b5e-378a-4bb3-aa9f-3c15b98138a4" providerId="ADAL" clId="{EA3EF6B8-8642-4B5F-8380-9CD710A0C079}" dt="2023-08-15T07:57:26.406" v="1593" actId="164"/>
          <ac:grpSpMkLst>
            <pc:docMk/>
            <pc:sldMk cId="884389446" sldId="2147377178"/>
            <ac:grpSpMk id="1244" creationId="{81C43C17-A416-08CB-D83E-8861F9287531}"/>
          </ac:grpSpMkLst>
        </pc:grpChg>
        <pc:grpChg chg="add mod">
          <ac:chgData name="Fatma Alsagaf" userId="ef587b5e-378a-4bb3-aa9f-3c15b98138a4" providerId="ADAL" clId="{EA3EF6B8-8642-4B5F-8380-9CD710A0C079}" dt="2023-08-15T07:59:39.709" v="1611" actId="164"/>
          <ac:grpSpMkLst>
            <pc:docMk/>
            <pc:sldMk cId="884389446" sldId="2147377178"/>
            <ac:grpSpMk id="1255" creationId="{CB6D63CD-A2DA-3E15-67FF-E830EEC4DDF5}"/>
          </ac:grpSpMkLst>
        </pc:grpChg>
        <pc:grpChg chg="add mod">
          <ac:chgData name="Fatma Alsagaf" userId="ef587b5e-378a-4bb3-aa9f-3c15b98138a4" providerId="ADAL" clId="{EA3EF6B8-8642-4B5F-8380-9CD710A0C079}" dt="2023-08-15T07:59:55.161" v="1612" actId="164"/>
          <ac:grpSpMkLst>
            <pc:docMk/>
            <pc:sldMk cId="884389446" sldId="2147377178"/>
            <ac:grpSpMk id="1256" creationId="{21032849-60A1-23F1-E205-609C123CABB5}"/>
          </ac:grpSpMkLst>
        </pc:grpChg>
        <pc:grpChg chg="add mod">
          <ac:chgData name="Fatma Alsagaf" userId="ef587b5e-378a-4bb3-aa9f-3c15b98138a4" providerId="ADAL" clId="{EA3EF6B8-8642-4B5F-8380-9CD710A0C079}" dt="2023-08-15T09:56:55.958" v="2136" actId="1076"/>
          <ac:grpSpMkLst>
            <pc:docMk/>
            <pc:sldMk cId="884389446" sldId="2147377178"/>
            <ac:grpSpMk id="1257" creationId="{5DCEC351-703E-3C2D-22B3-E1177A384C2F}"/>
          </ac:grpSpMkLst>
        </pc:grpChg>
        <pc:graphicFrameChg chg="add mod modGraphic">
          <ac:chgData name="Fatma Alsagaf" userId="ef587b5e-378a-4bb3-aa9f-3c15b98138a4" providerId="ADAL" clId="{EA3EF6B8-8642-4B5F-8380-9CD710A0C079}" dt="2023-08-15T11:03:41.755" v="2475" actId="572"/>
          <ac:graphicFrameMkLst>
            <pc:docMk/>
            <pc:sldMk cId="884389446" sldId="2147377178"/>
            <ac:graphicFrameMk id="7" creationId="{4432AC0E-D8E6-55A2-0D52-F50464E23312}"/>
          </ac:graphicFrameMkLst>
        </pc:graphicFrameChg>
        <pc:graphicFrameChg chg="add del mod">
          <ac:chgData name="Fatma Alsagaf" userId="ef587b5e-378a-4bb3-aa9f-3c15b98138a4" providerId="ADAL" clId="{EA3EF6B8-8642-4B5F-8380-9CD710A0C079}" dt="2023-08-15T05:17:28.790" v="956" actId="478"/>
          <ac:graphicFrameMkLst>
            <pc:docMk/>
            <pc:sldMk cId="884389446" sldId="2147377178"/>
            <ac:graphicFrameMk id="20" creationId="{F2132BA2-8A5E-22EC-0A36-0ACCCCE6099B}"/>
          </ac:graphicFrameMkLst>
        </pc:graphicFrameChg>
        <pc:graphicFrameChg chg="add del">
          <ac:chgData name="Fatma Alsagaf" userId="ef587b5e-378a-4bb3-aa9f-3c15b98138a4" providerId="ADAL" clId="{EA3EF6B8-8642-4B5F-8380-9CD710A0C079}" dt="2023-08-15T04:43:13.859" v="557" actId="478"/>
          <ac:graphicFrameMkLst>
            <pc:docMk/>
            <pc:sldMk cId="884389446" sldId="2147377178"/>
            <ac:graphicFrameMk id="1045" creationId="{06FEE8E5-02F4-C8F2-6E1B-9A78D31B3749}"/>
          </ac:graphicFrameMkLst>
        </pc:graphicFrameChg>
        <pc:graphicFrameChg chg="add del">
          <ac:chgData name="Fatma Alsagaf" userId="ef587b5e-378a-4bb3-aa9f-3c15b98138a4" providerId="ADAL" clId="{EA3EF6B8-8642-4B5F-8380-9CD710A0C079}" dt="2023-08-15T04:43:13.859" v="557" actId="478"/>
          <ac:graphicFrameMkLst>
            <pc:docMk/>
            <pc:sldMk cId="884389446" sldId="2147377178"/>
            <ac:graphicFrameMk id="1046" creationId="{0B8726B4-6397-984F-B13F-861A6956900F}"/>
          </ac:graphicFrameMkLst>
        </pc:graphicFrameChg>
        <pc:picChg chg="add mod">
          <ac:chgData name="Fatma Alsagaf" userId="ef587b5e-378a-4bb3-aa9f-3c15b98138a4" providerId="ADAL" clId="{EA3EF6B8-8642-4B5F-8380-9CD710A0C079}" dt="2023-08-15T05:52:01.592" v="1226" actId="1076"/>
          <ac:picMkLst>
            <pc:docMk/>
            <pc:sldMk cId="884389446" sldId="2147377178"/>
            <ac:picMk id="13" creationId="{CDD0C120-92D6-7BF1-66DC-72B4880FD275}"/>
          </ac:picMkLst>
        </pc:picChg>
        <pc:picChg chg="add del">
          <ac:chgData name="Fatma Alsagaf" userId="ef587b5e-378a-4bb3-aa9f-3c15b98138a4" providerId="ADAL" clId="{EA3EF6B8-8642-4B5F-8380-9CD710A0C079}" dt="2023-08-15T04:43:13.859" v="557" actId="478"/>
          <ac:picMkLst>
            <pc:docMk/>
            <pc:sldMk cId="884389446" sldId="2147377178"/>
            <ac:picMk id="69" creationId="{B96DF8B2-E391-F9E3-8131-F181D0F06E59}"/>
          </ac:picMkLst>
        </pc:picChg>
        <pc:picChg chg="add del mod">
          <ac:chgData name="Fatma Alsagaf" userId="ef587b5e-378a-4bb3-aa9f-3c15b98138a4" providerId="ADAL" clId="{EA3EF6B8-8642-4B5F-8380-9CD710A0C079}" dt="2023-08-15T04:59:29.558" v="790" actId="1076"/>
          <ac:picMkLst>
            <pc:docMk/>
            <pc:sldMk cId="884389446" sldId="2147377178"/>
            <ac:picMk id="1026" creationId="{ED3B8F12-EFE3-D06C-E07F-5C1C43EFD26B}"/>
          </ac:picMkLst>
        </pc:picChg>
        <pc:picChg chg="add del">
          <ac:chgData name="Fatma Alsagaf" userId="ef587b5e-378a-4bb3-aa9f-3c15b98138a4" providerId="ADAL" clId="{EA3EF6B8-8642-4B5F-8380-9CD710A0C079}" dt="2023-08-15T04:43:13.859" v="557" actId="478"/>
          <ac:picMkLst>
            <pc:docMk/>
            <pc:sldMk cId="884389446" sldId="2147377178"/>
            <ac:picMk id="1030" creationId="{FD434694-9BFA-5746-BCF0-456DEFDFB7CF}"/>
          </ac:picMkLst>
        </pc:picChg>
        <pc:picChg chg="add del">
          <ac:chgData name="Fatma Alsagaf" userId="ef587b5e-378a-4bb3-aa9f-3c15b98138a4" providerId="ADAL" clId="{EA3EF6B8-8642-4B5F-8380-9CD710A0C079}" dt="2023-08-15T04:43:13.859" v="557" actId="478"/>
          <ac:picMkLst>
            <pc:docMk/>
            <pc:sldMk cId="884389446" sldId="2147377178"/>
            <ac:picMk id="1032" creationId="{5FF67296-11AD-0C1E-1207-F315D7C9BE43}"/>
          </ac:picMkLst>
        </pc:picChg>
        <pc:picChg chg="add del">
          <ac:chgData name="Fatma Alsagaf" userId="ef587b5e-378a-4bb3-aa9f-3c15b98138a4" providerId="ADAL" clId="{EA3EF6B8-8642-4B5F-8380-9CD710A0C079}" dt="2023-08-15T04:43:13.859" v="557" actId="478"/>
          <ac:picMkLst>
            <pc:docMk/>
            <pc:sldMk cId="884389446" sldId="2147377178"/>
            <ac:picMk id="1036" creationId="{48B11E95-0146-FD4B-CCA7-702BF538DF71}"/>
          </ac:picMkLst>
        </pc:picChg>
        <pc:picChg chg="add mod">
          <ac:chgData name="Fatma Alsagaf" userId="ef587b5e-378a-4bb3-aa9f-3c15b98138a4" providerId="ADAL" clId="{EA3EF6B8-8642-4B5F-8380-9CD710A0C079}" dt="2023-08-15T05:49:56.717" v="1220" actId="1076"/>
          <ac:picMkLst>
            <pc:docMk/>
            <pc:sldMk cId="884389446" sldId="2147377178"/>
            <ac:picMk id="1157" creationId="{391E6A35-B49F-04A5-2C2D-D891C7000ECF}"/>
          </ac:picMkLst>
        </pc:picChg>
        <pc:picChg chg="add mod">
          <ac:chgData name="Fatma Alsagaf" userId="ef587b5e-378a-4bb3-aa9f-3c15b98138a4" providerId="ADAL" clId="{EA3EF6B8-8642-4B5F-8380-9CD710A0C079}" dt="2023-08-15T05:47:17.864" v="1205" actId="14100"/>
          <ac:picMkLst>
            <pc:docMk/>
            <pc:sldMk cId="884389446" sldId="2147377178"/>
            <ac:picMk id="1159" creationId="{1A7502C5-FF8F-310C-B6BF-F9FD01AEB333}"/>
          </ac:picMkLst>
        </pc:picChg>
        <pc:picChg chg="add del mod">
          <ac:chgData name="Fatma Alsagaf" userId="ef587b5e-378a-4bb3-aa9f-3c15b98138a4" providerId="ADAL" clId="{EA3EF6B8-8642-4B5F-8380-9CD710A0C079}" dt="2023-08-15T07:20:47.572" v="1276"/>
          <ac:picMkLst>
            <pc:docMk/>
            <pc:sldMk cId="884389446" sldId="2147377178"/>
            <ac:picMk id="1221" creationId="{FDF2C741-B7CB-FB65-CB86-9B9D571C7789}"/>
          </ac:picMkLst>
        </pc:picChg>
        <pc:picChg chg="add del mod">
          <ac:chgData name="Fatma Alsagaf" userId="ef587b5e-378a-4bb3-aa9f-3c15b98138a4" providerId="ADAL" clId="{EA3EF6B8-8642-4B5F-8380-9CD710A0C079}" dt="2023-08-15T07:43:03.600" v="1357" actId="478"/>
          <ac:picMkLst>
            <pc:docMk/>
            <pc:sldMk cId="884389446" sldId="2147377178"/>
            <ac:picMk id="1223" creationId="{5A435491-12B8-0528-3146-7B2044A4BAF5}"/>
          </ac:picMkLst>
        </pc:picChg>
        <pc:cxnChg chg="add mod">
          <ac:chgData name="Fatma Alsagaf" userId="ef587b5e-378a-4bb3-aa9f-3c15b98138a4" providerId="ADAL" clId="{EA3EF6B8-8642-4B5F-8380-9CD710A0C079}" dt="2023-08-15T05:52:09.513" v="1227" actId="14100"/>
          <ac:cxnSpMkLst>
            <pc:docMk/>
            <pc:sldMk cId="884389446" sldId="2147377178"/>
            <ac:cxnSpMk id="45" creationId="{D9E4DCE6-1A6D-888E-25AF-049FD5C19797}"/>
          </ac:cxnSpMkLst>
        </pc:cxnChg>
        <pc:cxnChg chg="add mod">
          <ac:chgData name="Fatma Alsagaf" userId="ef587b5e-378a-4bb3-aa9f-3c15b98138a4" providerId="ADAL" clId="{EA3EF6B8-8642-4B5F-8380-9CD710A0C079}" dt="2023-08-15T05:52:19.597" v="1228" actId="14100"/>
          <ac:cxnSpMkLst>
            <pc:docMk/>
            <pc:sldMk cId="884389446" sldId="2147377178"/>
            <ac:cxnSpMk id="46" creationId="{6D998D91-5122-5556-756C-DBDF6B805BF9}"/>
          </ac:cxnSpMkLst>
        </pc:cxnChg>
        <pc:cxnChg chg="add del mod">
          <ac:chgData name="Fatma Alsagaf" userId="ef587b5e-378a-4bb3-aa9f-3c15b98138a4" providerId="ADAL" clId="{EA3EF6B8-8642-4B5F-8380-9CD710A0C079}" dt="2023-08-15T05:35:14.936" v="1130" actId="478"/>
          <ac:cxnSpMkLst>
            <pc:docMk/>
            <pc:sldMk cId="884389446" sldId="2147377178"/>
            <ac:cxnSpMk id="78" creationId="{70711651-640F-0BB5-06AA-C3A549CF61F7}"/>
          </ac:cxnSpMkLst>
        </pc:cxnChg>
        <pc:cxnChg chg="add del">
          <ac:chgData name="Fatma Alsagaf" userId="ef587b5e-378a-4bb3-aa9f-3c15b98138a4" providerId="ADAL" clId="{EA3EF6B8-8642-4B5F-8380-9CD710A0C079}" dt="2023-08-15T04:43:13.859" v="557" actId="478"/>
          <ac:cxnSpMkLst>
            <pc:docMk/>
            <pc:sldMk cId="884389446" sldId="2147377178"/>
            <ac:cxnSpMk id="1072" creationId="{646B5755-F3C5-FCD4-4902-E65D314486C3}"/>
          </ac:cxnSpMkLst>
        </pc:cxnChg>
        <pc:cxnChg chg="add mod">
          <ac:chgData name="Fatma Alsagaf" userId="ef587b5e-378a-4bb3-aa9f-3c15b98138a4" providerId="ADAL" clId="{EA3EF6B8-8642-4B5F-8380-9CD710A0C079}" dt="2023-08-15T05:54:59.617" v="1234" actId="164"/>
          <ac:cxnSpMkLst>
            <pc:docMk/>
            <pc:sldMk cId="884389446" sldId="2147377178"/>
            <ac:cxnSpMk id="1194" creationId="{BD24A075-BC8F-F8F4-5FA2-B7D2E60D95A3}"/>
          </ac:cxnSpMkLst>
        </pc:cxnChg>
        <pc:cxnChg chg="del mod">
          <ac:chgData name="Fatma Alsagaf" userId="ef587b5e-378a-4bb3-aa9f-3c15b98138a4" providerId="ADAL" clId="{EA3EF6B8-8642-4B5F-8380-9CD710A0C079}" dt="2023-08-15T07:43:17.549" v="1362" actId="478"/>
          <ac:cxnSpMkLst>
            <pc:docMk/>
            <pc:sldMk cId="884389446" sldId="2147377178"/>
            <ac:cxnSpMk id="1230" creationId="{1DF69176-71E8-869E-791D-4986F8E49042}"/>
          </ac:cxnSpMkLst>
        </pc:cxnChg>
      </pc:sldChg>
      <pc:sldChg chg="addSp delSp modSp add mod">
        <pc:chgData name="Fatma Alsagaf" userId="ef587b5e-378a-4bb3-aa9f-3c15b98138a4" providerId="ADAL" clId="{EA3EF6B8-8642-4B5F-8380-9CD710A0C079}" dt="2023-08-15T11:11:28.422" v="2514" actId="1076"/>
        <pc:sldMkLst>
          <pc:docMk/>
          <pc:sldMk cId="1299294744" sldId="2147377179"/>
        </pc:sldMkLst>
        <pc:spChg chg="add del mod">
          <ac:chgData name="Fatma Alsagaf" userId="ef587b5e-378a-4bb3-aa9f-3c15b98138a4" providerId="ADAL" clId="{EA3EF6B8-8642-4B5F-8380-9CD710A0C079}" dt="2023-08-15T08:22:28.516" v="1619"/>
          <ac:spMkLst>
            <pc:docMk/>
            <pc:sldMk cId="1299294744" sldId="2147377179"/>
            <ac:spMk id="3" creationId="{FBE6FF94-D20F-0965-DC4F-04F38B88DF31}"/>
          </ac:spMkLst>
        </pc:spChg>
        <pc:spChg chg="mod">
          <ac:chgData name="Fatma Alsagaf" userId="ef587b5e-378a-4bb3-aa9f-3c15b98138a4" providerId="ADAL" clId="{EA3EF6B8-8642-4B5F-8380-9CD710A0C079}" dt="2023-08-15T08:22:24.934" v="1616"/>
          <ac:spMkLst>
            <pc:docMk/>
            <pc:sldMk cId="1299294744" sldId="2147377179"/>
            <ac:spMk id="5" creationId="{93DF42B0-1DC3-E56C-CF0F-78160588BAF9}"/>
          </ac:spMkLst>
        </pc:spChg>
        <pc:spChg chg="mod">
          <ac:chgData name="Fatma Alsagaf" userId="ef587b5e-378a-4bb3-aa9f-3c15b98138a4" providerId="ADAL" clId="{EA3EF6B8-8642-4B5F-8380-9CD710A0C079}" dt="2023-08-15T08:22:24.934" v="1616"/>
          <ac:spMkLst>
            <pc:docMk/>
            <pc:sldMk cId="1299294744" sldId="2147377179"/>
            <ac:spMk id="6" creationId="{5318A99D-C202-B744-20CC-138B0CDF35BA}"/>
          </ac:spMkLst>
        </pc:spChg>
        <pc:spChg chg="mod">
          <ac:chgData name="Fatma Alsagaf" userId="ef587b5e-378a-4bb3-aa9f-3c15b98138a4" providerId="ADAL" clId="{EA3EF6B8-8642-4B5F-8380-9CD710A0C079}" dt="2023-08-15T08:22:24.934" v="1616"/>
          <ac:spMkLst>
            <pc:docMk/>
            <pc:sldMk cId="1299294744" sldId="2147377179"/>
            <ac:spMk id="8" creationId="{4D3E54A2-BD75-5EB0-1EB4-0A720F4471D3}"/>
          </ac:spMkLst>
        </pc:spChg>
        <pc:spChg chg="mod">
          <ac:chgData name="Fatma Alsagaf" userId="ef587b5e-378a-4bb3-aa9f-3c15b98138a4" providerId="ADAL" clId="{EA3EF6B8-8642-4B5F-8380-9CD710A0C079}" dt="2023-08-15T08:22:24.934" v="1616"/>
          <ac:spMkLst>
            <pc:docMk/>
            <pc:sldMk cId="1299294744" sldId="2147377179"/>
            <ac:spMk id="9" creationId="{3F1E6D4E-F7E8-31DB-CA72-14FEBD45861E}"/>
          </ac:spMkLst>
        </pc:spChg>
        <pc:spChg chg="mod">
          <ac:chgData name="Fatma Alsagaf" userId="ef587b5e-378a-4bb3-aa9f-3c15b98138a4" providerId="ADAL" clId="{EA3EF6B8-8642-4B5F-8380-9CD710A0C079}" dt="2023-08-15T08:22:24.934" v="1616"/>
          <ac:spMkLst>
            <pc:docMk/>
            <pc:sldMk cId="1299294744" sldId="2147377179"/>
            <ac:spMk id="10" creationId="{D107D8FD-6574-06BE-80DF-704A6CEDB194}"/>
          </ac:spMkLst>
        </pc:spChg>
        <pc:spChg chg="add del mod">
          <ac:chgData name="Fatma Alsagaf" userId="ef587b5e-378a-4bb3-aa9f-3c15b98138a4" providerId="ADAL" clId="{EA3EF6B8-8642-4B5F-8380-9CD710A0C079}" dt="2023-08-15T10:46:55.551" v="2390" actId="14100"/>
          <ac:spMkLst>
            <pc:docMk/>
            <pc:sldMk cId="1299294744" sldId="2147377179"/>
            <ac:spMk id="11" creationId="{9291974D-94F5-468A-87AC-B7EFF95696CC}"/>
          </ac:spMkLst>
        </pc:spChg>
        <pc:spChg chg="mod">
          <ac:chgData name="Fatma Alsagaf" userId="ef587b5e-378a-4bb3-aa9f-3c15b98138a4" providerId="ADAL" clId="{EA3EF6B8-8642-4B5F-8380-9CD710A0C079}" dt="2023-08-15T10:46:41.704" v="2388" actId="1076"/>
          <ac:spMkLst>
            <pc:docMk/>
            <pc:sldMk cId="1299294744" sldId="2147377179"/>
            <ac:spMk id="12" creationId="{C75951E2-F848-47C6-14D3-D16A1F5CB9E8}"/>
          </ac:spMkLst>
        </pc:spChg>
        <pc:spChg chg="mod">
          <ac:chgData name="Fatma Alsagaf" userId="ef587b5e-378a-4bb3-aa9f-3c15b98138a4" providerId="ADAL" clId="{EA3EF6B8-8642-4B5F-8380-9CD710A0C079}" dt="2023-08-15T08:22:24.934" v="1616"/>
          <ac:spMkLst>
            <pc:docMk/>
            <pc:sldMk cId="1299294744" sldId="2147377179"/>
            <ac:spMk id="14" creationId="{4C0864FC-D724-B79B-2E20-F43B0FBBFACB}"/>
          </ac:spMkLst>
        </pc:spChg>
        <pc:spChg chg="mod">
          <ac:chgData name="Fatma Alsagaf" userId="ef587b5e-378a-4bb3-aa9f-3c15b98138a4" providerId="ADAL" clId="{EA3EF6B8-8642-4B5F-8380-9CD710A0C079}" dt="2023-08-15T08:22:24.934" v="1616"/>
          <ac:spMkLst>
            <pc:docMk/>
            <pc:sldMk cId="1299294744" sldId="2147377179"/>
            <ac:spMk id="15" creationId="{2997FB5F-7593-938C-1D83-9EF75C73A8E1}"/>
          </ac:spMkLst>
        </pc:spChg>
        <pc:spChg chg="mod">
          <ac:chgData name="Fatma Alsagaf" userId="ef587b5e-378a-4bb3-aa9f-3c15b98138a4" providerId="ADAL" clId="{EA3EF6B8-8642-4B5F-8380-9CD710A0C079}" dt="2023-08-15T08:22:24.934" v="1616"/>
          <ac:spMkLst>
            <pc:docMk/>
            <pc:sldMk cId="1299294744" sldId="2147377179"/>
            <ac:spMk id="16" creationId="{0183A2BE-CB06-910E-497A-E45E8CC4D291}"/>
          </ac:spMkLst>
        </pc:spChg>
        <pc:spChg chg="mod">
          <ac:chgData name="Fatma Alsagaf" userId="ef587b5e-378a-4bb3-aa9f-3c15b98138a4" providerId="ADAL" clId="{EA3EF6B8-8642-4B5F-8380-9CD710A0C079}" dt="2023-08-15T08:22:24.934" v="1616"/>
          <ac:spMkLst>
            <pc:docMk/>
            <pc:sldMk cId="1299294744" sldId="2147377179"/>
            <ac:spMk id="17" creationId="{2CBCF255-C369-1ADC-5DD0-B47FA3969D21}"/>
          </ac:spMkLst>
        </pc:spChg>
        <pc:spChg chg="add del mod topLvl">
          <ac:chgData name="Fatma Alsagaf" userId="ef587b5e-378a-4bb3-aa9f-3c15b98138a4" providerId="ADAL" clId="{EA3EF6B8-8642-4B5F-8380-9CD710A0C079}" dt="2023-08-15T10:02:14.198" v="2180" actId="14100"/>
          <ac:spMkLst>
            <pc:docMk/>
            <pc:sldMk cId="1299294744" sldId="2147377179"/>
            <ac:spMk id="18" creationId="{95FB7BE9-7D48-5D25-1E13-C92618F46C7E}"/>
          </ac:spMkLst>
        </pc:spChg>
        <pc:spChg chg="add del mod">
          <ac:chgData name="Fatma Alsagaf" userId="ef587b5e-378a-4bb3-aa9f-3c15b98138a4" providerId="ADAL" clId="{EA3EF6B8-8642-4B5F-8380-9CD710A0C079}" dt="2023-08-15T09:59:24.368" v="2152" actId="478"/>
          <ac:spMkLst>
            <pc:docMk/>
            <pc:sldMk cId="1299294744" sldId="2147377179"/>
            <ac:spMk id="20" creationId="{3090EFE3-7BCC-4EB0-BBFD-1C3DC8C3ED53}"/>
          </ac:spMkLst>
        </pc:spChg>
        <pc:spChg chg="del mod">
          <ac:chgData name="Fatma Alsagaf" userId="ef587b5e-378a-4bb3-aa9f-3c15b98138a4" providerId="ADAL" clId="{EA3EF6B8-8642-4B5F-8380-9CD710A0C079}" dt="2023-08-15T08:26:07.125" v="1663" actId="478"/>
          <ac:spMkLst>
            <pc:docMk/>
            <pc:sldMk cId="1299294744" sldId="2147377179"/>
            <ac:spMk id="21" creationId="{51DB2FDB-AC05-4715-5735-FB0E8BD8BC6A}"/>
          </ac:spMkLst>
        </pc:spChg>
        <pc:spChg chg="del mod">
          <ac:chgData name="Fatma Alsagaf" userId="ef587b5e-378a-4bb3-aa9f-3c15b98138a4" providerId="ADAL" clId="{EA3EF6B8-8642-4B5F-8380-9CD710A0C079}" dt="2023-08-15T08:26:08.647" v="1664" actId="478"/>
          <ac:spMkLst>
            <pc:docMk/>
            <pc:sldMk cId="1299294744" sldId="2147377179"/>
            <ac:spMk id="22" creationId="{F61F9417-BE66-C6C9-D743-F9D48E3606E6}"/>
          </ac:spMkLst>
        </pc:spChg>
        <pc:spChg chg="mod ord">
          <ac:chgData name="Fatma Alsagaf" userId="ef587b5e-378a-4bb3-aa9f-3c15b98138a4" providerId="ADAL" clId="{EA3EF6B8-8642-4B5F-8380-9CD710A0C079}" dt="2023-08-15T11:10:24.884" v="2489" actId="207"/>
          <ac:spMkLst>
            <pc:docMk/>
            <pc:sldMk cId="1299294744" sldId="2147377179"/>
            <ac:spMk id="23" creationId="{AFB6CC63-18AF-EC05-247A-3929B642B462}"/>
          </ac:spMkLst>
        </pc:spChg>
        <pc:spChg chg="del mod ord">
          <ac:chgData name="Fatma Alsagaf" userId="ef587b5e-378a-4bb3-aa9f-3c15b98138a4" providerId="ADAL" clId="{EA3EF6B8-8642-4B5F-8380-9CD710A0C079}" dt="2023-08-15T08:34:10.630" v="1807" actId="478"/>
          <ac:spMkLst>
            <pc:docMk/>
            <pc:sldMk cId="1299294744" sldId="2147377179"/>
            <ac:spMk id="24" creationId="{E7263590-77F4-B2F4-86A8-AEACDBDE9AC1}"/>
          </ac:spMkLst>
        </pc:spChg>
        <pc:spChg chg="mod ord">
          <ac:chgData name="Fatma Alsagaf" userId="ef587b5e-378a-4bb3-aa9f-3c15b98138a4" providerId="ADAL" clId="{EA3EF6B8-8642-4B5F-8380-9CD710A0C079}" dt="2023-08-15T09:42:42.504" v="1987" actId="165"/>
          <ac:spMkLst>
            <pc:docMk/>
            <pc:sldMk cId="1299294744" sldId="2147377179"/>
            <ac:spMk id="25" creationId="{6CA1D548-22A1-AA2D-5A6A-9A16898A169F}"/>
          </ac:spMkLst>
        </pc:spChg>
        <pc:spChg chg="mod ord">
          <ac:chgData name="Fatma Alsagaf" userId="ef587b5e-378a-4bb3-aa9f-3c15b98138a4" providerId="ADAL" clId="{EA3EF6B8-8642-4B5F-8380-9CD710A0C079}" dt="2023-08-15T11:10:24.884" v="2489" actId="207"/>
          <ac:spMkLst>
            <pc:docMk/>
            <pc:sldMk cId="1299294744" sldId="2147377179"/>
            <ac:spMk id="26" creationId="{6F61A9F0-7090-D9C5-481F-33AA3D44FAF2}"/>
          </ac:spMkLst>
        </pc:spChg>
        <pc:spChg chg="del mod ord">
          <ac:chgData name="Fatma Alsagaf" userId="ef587b5e-378a-4bb3-aa9f-3c15b98138a4" providerId="ADAL" clId="{EA3EF6B8-8642-4B5F-8380-9CD710A0C079}" dt="2023-08-15T09:59:18.325" v="2149" actId="478"/>
          <ac:spMkLst>
            <pc:docMk/>
            <pc:sldMk cId="1299294744" sldId="2147377179"/>
            <ac:spMk id="27" creationId="{8C808568-819B-F9B2-E681-7CD072688232}"/>
          </ac:spMkLst>
        </pc:spChg>
        <pc:spChg chg="mod">
          <ac:chgData name="Fatma Alsagaf" userId="ef587b5e-378a-4bb3-aa9f-3c15b98138a4" providerId="ADAL" clId="{EA3EF6B8-8642-4B5F-8380-9CD710A0C079}" dt="2023-08-15T09:42:42.504" v="1987" actId="165"/>
          <ac:spMkLst>
            <pc:docMk/>
            <pc:sldMk cId="1299294744" sldId="2147377179"/>
            <ac:spMk id="28" creationId="{D4ECBBCC-73B7-F2C7-10FB-421263500532}"/>
          </ac:spMkLst>
        </pc:spChg>
        <pc:spChg chg="add mod">
          <ac:chgData name="Fatma Alsagaf" userId="ef587b5e-378a-4bb3-aa9f-3c15b98138a4" providerId="ADAL" clId="{EA3EF6B8-8642-4B5F-8380-9CD710A0C079}" dt="2023-08-15T10:49:32.589" v="2421" actId="20577"/>
          <ac:spMkLst>
            <pc:docMk/>
            <pc:sldMk cId="1299294744" sldId="2147377179"/>
            <ac:spMk id="30" creationId="{A82847AA-D1CD-D847-F53E-0D38CFB50142}"/>
          </ac:spMkLst>
        </pc:spChg>
        <pc:spChg chg="add mod">
          <ac:chgData name="Fatma Alsagaf" userId="ef587b5e-378a-4bb3-aa9f-3c15b98138a4" providerId="ADAL" clId="{EA3EF6B8-8642-4B5F-8380-9CD710A0C079}" dt="2023-08-15T09:44:43.366" v="2019" actId="1076"/>
          <ac:spMkLst>
            <pc:docMk/>
            <pc:sldMk cId="1299294744" sldId="2147377179"/>
            <ac:spMk id="31" creationId="{8BCEE439-8390-30F8-F5D1-657B2E6B756F}"/>
          </ac:spMkLst>
        </pc:spChg>
        <pc:spChg chg="add del mod">
          <ac:chgData name="Fatma Alsagaf" userId="ef587b5e-378a-4bb3-aa9f-3c15b98138a4" providerId="ADAL" clId="{EA3EF6B8-8642-4B5F-8380-9CD710A0C079}" dt="2023-08-15T08:36:41.839" v="1824" actId="478"/>
          <ac:spMkLst>
            <pc:docMk/>
            <pc:sldMk cId="1299294744" sldId="2147377179"/>
            <ac:spMk id="32" creationId="{6A200052-3490-73D0-171F-E0F7CB315045}"/>
          </ac:spMkLst>
        </pc:spChg>
        <pc:spChg chg="add del mod">
          <ac:chgData name="Fatma Alsagaf" userId="ef587b5e-378a-4bb3-aa9f-3c15b98138a4" providerId="ADAL" clId="{EA3EF6B8-8642-4B5F-8380-9CD710A0C079}" dt="2023-08-15T08:36:41.839" v="1824" actId="478"/>
          <ac:spMkLst>
            <pc:docMk/>
            <pc:sldMk cId="1299294744" sldId="2147377179"/>
            <ac:spMk id="33" creationId="{9E319921-E4B1-CF1D-D940-2D2AB5B5F0C3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34" creationId="{D74B6E11-DA5D-C561-1D32-685376A749BC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35" creationId="{B344AD57-6E88-1319-CFC5-C1465B992BA3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36" creationId="{2B6365D3-0F38-CF9F-3C53-13FAACDA3700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38" creationId="{9A114FFE-7578-C8EB-6458-53C7F58CDBCC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39" creationId="{15411B51-3F01-0F38-9B62-AFB00E3E9B10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40" creationId="{40D5708F-CC5F-A4D8-65E2-9C4ABB62D7EA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41" creationId="{762DC6CC-B7E7-3E21-474E-93CE51EAD887}"/>
          </ac:spMkLst>
        </pc:spChg>
        <pc:spChg chg="add del mod">
          <ac:chgData name="Fatma Alsagaf" userId="ef587b5e-378a-4bb3-aa9f-3c15b98138a4" providerId="ADAL" clId="{EA3EF6B8-8642-4B5F-8380-9CD710A0C079}" dt="2023-08-15T08:36:41.839" v="1824" actId="478"/>
          <ac:spMkLst>
            <pc:docMk/>
            <pc:sldMk cId="1299294744" sldId="2147377179"/>
            <ac:spMk id="42" creationId="{FD04A6B7-3A90-6F5F-2F64-45E237799E9E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43" creationId="{8A12AB88-5A62-05FF-CEA3-7BF4CBE74F2A}"/>
          </ac:spMkLst>
        </pc:spChg>
        <pc:spChg chg="add del mod">
          <ac:chgData name="Fatma Alsagaf" userId="ef587b5e-378a-4bb3-aa9f-3c15b98138a4" providerId="ADAL" clId="{EA3EF6B8-8642-4B5F-8380-9CD710A0C079}" dt="2023-08-15T08:36:41.839" v="1824" actId="478"/>
          <ac:spMkLst>
            <pc:docMk/>
            <pc:sldMk cId="1299294744" sldId="2147377179"/>
            <ac:spMk id="44" creationId="{5C4E73F7-E7BC-4EED-DA27-B43BEEE2CA55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47" creationId="{C131A409-A511-F00E-56F2-141C2B2C9E05}"/>
          </ac:spMkLst>
        </pc:spChg>
        <pc:spChg chg="add del mod">
          <ac:chgData name="Fatma Alsagaf" userId="ef587b5e-378a-4bb3-aa9f-3c15b98138a4" providerId="ADAL" clId="{EA3EF6B8-8642-4B5F-8380-9CD710A0C079}" dt="2023-08-15T08:40:08.803" v="1893" actId="478"/>
          <ac:spMkLst>
            <pc:docMk/>
            <pc:sldMk cId="1299294744" sldId="2147377179"/>
            <ac:spMk id="49" creationId="{55E14D1E-C8E9-6995-D427-8FDF4D0B5726}"/>
          </ac:spMkLst>
        </pc:spChg>
        <pc:spChg chg="add del mod">
          <ac:chgData name="Fatma Alsagaf" userId="ef587b5e-378a-4bb3-aa9f-3c15b98138a4" providerId="ADAL" clId="{EA3EF6B8-8642-4B5F-8380-9CD710A0C079}" dt="2023-08-15T08:40:11.061" v="1895" actId="478"/>
          <ac:spMkLst>
            <pc:docMk/>
            <pc:sldMk cId="1299294744" sldId="2147377179"/>
            <ac:spMk id="50" creationId="{2DFA4E91-A4A3-8EF2-E3D9-121D466AFA06}"/>
          </ac:spMkLst>
        </pc:spChg>
        <pc:spChg chg="add del mod">
          <ac:chgData name="Fatma Alsagaf" userId="ef587b5e-378a-4bb3-aa9f-3c15b98138a4" providerId="ADAL" clId="{EA3EF6B8-8642-4B5F-8380-9CD710A0C079}" dt="2023-08-15T08:40:06.253" v="1890" actId="478"/>
          <ac:spMkLst>
            <pc:docMk/>
            <pc:sldMk cId="1299294744" sldId="2147377179"/>
            <ac:spMk id="51" creationId="{9CD68507-7D87-6936-DC52-970792ADF485}"/>
          </ac:spMkLst>
        </pc:spChg>
        <pc:spChg chg="add del mod">
          <ac:chgData name="Fatma Alsagaf" userId="ef587b5e-378a-4bb3-aa9f-3c15b98138a4" providerId="ADAL" clId="{EA3EF6B8-8642-4B5F-8380-9CD710A0C079}" dt="2023-08-15T08:40:04.265" v="1889" actId="478"/>
          <ac:spMkLst>
            <pc:docMk/>
            <pc:sldMk cId="1299294744" sldId="2147377179"/>
            <ac:spMk id="52" creationId="{EE6EE26C-4C7D-6914-C354-453A665EB073}"/>
          </ac:spMkLst>
        </pc:spChg>
        <pc:spChg chg="add del mod">
          <ac:chgData name="Fatma Alsagaf" userId="ef587b5e-378a-4bb3-aa9f-3c15b98138a4" providerId="ADAL" clId="{EA3EF6B8-8642-4B5F-8380-9CD710A0C079}" dt="2023-08-15T08:40:15.657" v="1897" actId="478"/>
          <ac:spMkLst>
            <pc:docMk/>
            <pc:sldMk cId="1299294744" sldId="2147377179"/>
            <ac:spMk id="53" creationId="{96D95EE1-CEC4-43C3-C538-51BAA140C7C1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55" creationId="{E78877AA-DE6F-4169-1B4E-32BD05E37FFD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56" creationId="{594345A9-F3E8-57E6-75BC-51AFF585B7DA}"/>
          </ac:spMkLst>
        </pc:spChg>
        <pc:spChg chg="add del mod">
          <ac:chgData name="Fatma Alsagaf" userId="ef587b5e-378a-4bb3-aa9f-3c15b98138a4" providerId="ADAL" clId="{EA3EF6B8-8642-4B5F-8380-9CD710A0C079}" dt="2023-08-15T08:40:07.747" v="1892" actId="478"/>
          <ac:spMkLst>
            <pc:docMk/>
            <pc:sldMk cId="1299294744" sldId="2147377179"/>
            <ac:spMk id="57" creationId="{0366EBFD-D669-7E55-958E-679669161E4D}"/>
          </ac:spMkLst>
        </pc:spChg>
        <pc:spChg chg="add del mod">
          <ac:chgData name="Fatma Alsagaf" userId="ef587b5e-378a-4bb3-aa9f-3c15b98138a4" providerId="ADAL" clId="{EA3EF6B8-8642-4B5F-8380-9CD710A0C079}" dt="2023-08-15T08:40:09.972" v="1894" actId="478"/>
          <ac:spMkLst>
            <pc:docMk/>
            <pc:sldMk cId="1299294744" sldId="2147377179"/>
            <ac:spMk id="58" creationId="{6163D8B6-A051-228B-4A58-85534D314C0D}"/>
          </ac:spMkLst>
        </pc:spChg>
        <pc:spChg chg="add del mod">
          <ac:chgData name="Fatma Alsagaf" userId="ef587b5e-378a-4bb3-aa9f-3c15b98138a4" providerId="ADAL" clId="{EA3EF6B8-8642-4B5F-8380-9CD710A0C079}" dt="2023-08-15T08:40:04.265" v="1889" actId="478"/>
          <ac:spMkLst>
            <pc:docMk/>
            <pc:sldMk cId="1299294744" sldId="2147377179"/>
            <ac:spMk id="59" creationId="{5D12C83B-E4A5-AC33-9F08-013E408D29C3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60" creationId="{88802526-9D6D-B721-D6E3-BEC7B79BB0B8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61" creationId="{C12FDBC5-3695-1301-535C-3B7441FB9DC1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63" creationId="{F895B549-37A1-8DA8-D45B-B5BFEC25E9ED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64" creationId="{536536B2-DA2C-A033-2319-9EA4B459F78E}"/>
          </ac:spMkLst>
        </pc:spChg>
        <pc:spChg chg="add del mod">
          <ac:chgData name="Fatma Alsagaf" userId="ef587b5e-378a-4bb3-aa9f-3c15b98138a4" providerId="ADAL" clId="{EA3EF6B8-8642-4B5F-8380-9CD710A0C079}" dt="2023-08-15T08:40:04.265" v="1889" actId="478"/>
          <ac:spMkLst>
            <pc:docMk/>
            <pc:sldMk cId="1299294744" sldId="2147377179"/>
            <ac:spMk id="65" creationId="{5E67E927-A1F5-8DDD-830B-00835E5BD26C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66" creationId="{C1C4FFF8-3D07-F00B-2563-B991B8CACC9F}"/>
          </ac:spMkLst>
        </pc:spChg>
        <pc:spChg chg="add del mod">
          <ac:chgData name="Fatma Alsagaf" userId="ef587b5e-378a-4bb3-aa9f-3c15b98138a4" providerId="ADAL" clId="{EA3EF6B8-8642-4B5F-8380-9CD710A0C079}" dt="2023-08-15T08:40:12.304" v="1896" actId="478"/>
          <ac:spMkLst>
            <pc:docMk/>
            <pc:sldMk cId="1299294744" sldId="2147377179"/>
            <ac:spMk id="67" creationId="{33E6F20C-B4DE-6B34-4C8E-EDBB605348F7}"/>
          </ac:spMkLst>
        </pc:spChg>
        <pc:spChg chg="add mod ord">
          <ac:chgData name="Fatma Alsagaf" userId="ef587b5e-378a-4bb3-aa9f-3c15b98138a4" providerId="ADAL" clId="{EA3EF6B8-8642-4B5F-8380-9CD710A0C079}" dt="2023-08-15T09:43:00.591" v="1991" actId="164"/>
          <ac:spMkLst>
            <pc:docMk/>
            <pc:sldMk cId="1299294744" sldId="2147377179"/>
            <ac:spMk id="68" creationId="{C67B4FD5-7C80-0E1C-B4DF-F8B32F4D8BE9}"/>
          </ac:spMkLst>
        </pc:spChg>
        <pc:spChg chg="add mod ord">
          <ac:chgData name="Fatma Alsagaf" userId="ef587b5e-378a-4bb3-aa9f-3c15b98138a4" providerId="ADAL" clId="{EA3EF6B8-8642-4B5F-8380-9CD710A0C079}" dt="2023-08-15T11:10:24.884" v="2489" actId="207"/>
          <ac:spMkLst>
            <pc:docMk/>
            <pc:sldMk cId="1299294744" sldId="2147377179"/>
            <ac:spMk id="69" creationId="{805D43AC-394C-F156-BBBE-6C174DA248AB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75" creationId="{11CA44E1-3211-0C50-088C-123E42519040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76" creationId="{985C933B-BC11-C285-4FF2-4CCB61135E80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77" creationId="{2CF8F3E1-89AD-C93C-26FE-2326542A5802}"/>
          </ac:spMkLst>
        </pc:spChg>
        <pc:spChg chg="mod">
          <ac:chgData name="Fatma Alsagaf" userId="ef587b5e-378a-4bb3-aa9f-3c15b98138a4" providerId="ADAL" clId="{EA3EF6B8-8642-4B5F-8380-9CD710A0C079}" dt="2023-08-15T09:44:37.133" v="2018" actId="1076"/>
          <ac:spMkLst>
            <pc:docMk/>
            <pc:sldMk cId="1299294744" sldId="2147377179"/>
            <ac:spMk id="78" creationId="{FF7A945D-BEBA-0A9A-D4CB-93D0015721EC}"/>
          </ac:spMkLst>
        </pc:spChg>
        <pc:spChg chg="del mod">
          <ac:chgData name="Fatma Alsagaf" userId="ef587b5e-378a-4bb3-aa9f-3c15b98138a4" providerId="ADAL" clId="{EA3EF6B8-8642-4B5F-8380-9CD710A0C079}" dt="2023-08-15T09:43:56.012" v="2011" actId="478"/>
          <ac:spMkLst>
            <pc:docMk/>
            <pc:sldMk cId="1299294744" sldId="2147377179"/>
            <ac:spMk id="81" creationId="{055FA7DE-065F-848C-DD75-494628102081}"/>
          </ac:spMkLst>
        </pc:spChg>
        <pc:spChg chg="del mod">
          <ac:chgData name="Fatma Alsagaf" userId="ef587b5e-378a-4bb3-aa9f-3c15b98138a4" providerId="ADAL" clId="{EA3EF6B8-8642-4B5F-8380-9CD710A0C079}" dt="2023-08-15T09:43:52.483" v="2010" actId="478"/>
          <ac:spMkLst>
            <pc:docMk/>
            <pc:sldMk cId="1299294744" sldId="2147377179"/>
            <ac:spMk id="82" creationId="{56DB2337-F77D-6DBF-889F-767BFA8AC08C}"/>
          </ac:spMkLst>
        </pc:spChg>
        <pc:spChg chg="del mod">
          <ac:chgData name="Fatma Alsagaf" userId="ef587b5e-378a-4bb3-aa9f-3c15b98138a4" providerId="ADAL" clId="{EA3EF6B8-8642-4B5F-8380-9CD710A0C079}" dt="2023-08-15T09:59:15.003" v="2148" actId="478"/>
          <ac:spMkLst>
            <pc:docMk/>
            <pc:sldMk cId="1299294744" sldId="2147377179"/>
            <ac:spMk id="83" creationId="{2CF57C9B-44D0-677A-A3A9-04110E5AB083}"/>
          </ac:spMkLst>
        </pc:spChg>
        <pc:spChg chg="mod">
          <ac:chgData name="Fatma Alsagaf" userId="ef587b5e-378a-4bb3-aa9f-3c15b98138a4" providerId="ADAL" clId="{EA3EF6B8-8642-4B5F-8380-9CD710A0C079}" dt="2023-08-15T09:43:17.491" v="1997"/>
          <ac:spMkLst>
            <pc:docMk/>
            <pc:sldMk cId="1299294744" sldId="2147377179"/>
            <ac:spMk id="84" creationId="{9675F5D0-7720-157D-365A-CD44C1B8464B}"/>
          </ac:spMkLst>
        </pc:spChg>
        <pc:spChg chg="mod">
          <ac:chgData name="Fatma Alsagaf" userId="ef587b5e-378a-4bb3-aa9f-3c15b98138a4" providerId="ADAL" clId="{EA3EF6B8-8642-4B5F-8380-9CD710A0C079}" dt="2023-08-15T11:10:24.884" v="2489" actId="207"/>
          <ac:spMkLst>
            <pc:docMk/>
            <pc:sldMk cId="1299294744" sldId="2147377179"/>
            <ac:spMk id="85" creationId="{9E47F160-785C-8E17-3127-0D550A3D9D50}"/>
          </ac:spMkLst>
        </pc:spChg>
        <pc:spChg chg="mod">
          <ac:chgData name="Fatma Alsagaf" userId="ef587b5e-378a-4bb3-aa9f-3c15b98138a4" providerId="ADAL" clId="{EA3EF6B8-8642-4B5F-8380-9CD710A0C079}" dt="2023-08-15T11:10:24.884" v="2489" actId="207"/>
          <ac:spMkLst>
            <pc:docMk/>
            <pc:sldMk cId="1299294744" sldId="2147377179"/>
            <ac:spMk id="86" creationId="{13426C7D-3100-1FA3-5E5A-1D109E2FCF2B}"/>
          </ac:spMkLst>
        </pc:spChg>
        <pc:spChg chg="del mod">
          <ac:chgData name="Fatma Alsagaf" userId="ef587b5e-378a-4bb3-aa9f-3c15b98138a4" providerId="ADAL" clId="{EA3EF6B8-8642-4B5F-8380-9CD710A0C079}" dt="2023-08-15T09:59:07.992" v="2146" actId="478"/>
          <ac:spMkLst>
            <pc:docMk/>
            <pc:sldMk cId="1299294744" sldId="2147377179"/>
            <ac:spMk id="87" creationId="{905BFD38-BA2C-2E3C-1F11-D475F21647EC}"/>
          </ac:spMkLst>
        </pc:spChg>
        <pc:spChg chg="mod">
          <ac:chgData name="Fatma Alsagaf" userId="ef587b5e-378a-4bb3-aa9f-3c15b98138a4" providerId="ADAL" clId="{EA3EF6B8-8642-4B5F-8380-9CD710A0C079}" dt="2023-08-15T09:43:17.491" v="1997"/>
          <ac:spMkLst>
            <pc:docMk/>
            <pc:sldMk cId="1299294744" sldId="2147377179"/>
            <ac:spMk id="88" creationId="{06B89F8C-4835-570B-BED1-D3A394BA3DA6}"/>
          </ac:spMkLst>
        </pc:spChg>
        <pc:spChg chg="mod">
          <ac:chgData name="Fatma Alsagaf" userId="ef587b5e-378a-4bb3-aa9f-3c15b98138a4" providerId="ADAL" clId="{EA3EF6B8-8642-4B5F-8380-9CD710A0C079}" dt="2023-08-15T10:14:14.941" v="2300"/>
          <ac:spMkLst>
            <pc:docMk/>
            <pc:sldMk cId="1299294744" sldId="2147377179"/>
            <ac:spMk id="96" creationId="{D9508137-9555-4366-AC20-AD4046674A4C}"/>
          </ac:spMkLst>
        </pc:spChg>
        <pc:spChg chg="mod">
          <ac:chgData name="Fatma Alsagaf" userId="ef587b5e-378a-4bb3-aa9f-3c15b98138a4" providerId="ADAL" clId="{EA3EF6B8-8642-4B5F-8380-9CD710A0C079}" dt="2023-08-15T10:14:14.941" v="2300"/>
          <ac:spMkLst>
            <pc:docMk/>
            <pc:sldMk cId="1299294744" sldId="2147377179"/>
            <ac:spMk id="97" creationId="{BF526FD9-ADCF-8FED-E298-8B7083660CDA}"/>
          </ac:spMkLst>
        </pc:spChg>
        <pc:spChg chg="mod">
          <ac:chgData name="Fatma Alsagaf" userId="ef587b5e-378a-4bb3-aa9f-3c15b98138a4" providerId="ADAL" clId="{EA3EF6B8-8642-4B5F-8380-9CD710A0C079}" dt="2023-08-15T10:14:14.941" v="2300"/>
          <ac:spMkLst>
            <pc:docMk/>
            <pc:sldMk cId="1299294744" sldId="2147377179"/>
            <ac:spMk id="98" creationId="{2BCAAD2E-BA4E-40CE-C90F-99BE6BA3BC0D}"/>
          </ac:spMkLst>
        </pc:spChg>
        <pc:spChg chg="mod">
          <ac:chgData name="Fatma Alsagaf" userId="ef587b5e-378a-4bb3-aa9f-3c15b98138a4" providerId="ADAL" clId="{EA3EF6B8-8642-4B5F-8380-9CD710A0C079}" dt="2023-08-15T10:14:14.941" v="2300"/>
          <ac:spMkLst>
            <pc:docMk/>
            <pc:sldMk cId="1299294744" sldId="2147377179"/>
            <ac:spMk id="99" creationId="{1F1FCBB6-9A34-F36A-0DC6-4E683E507883}"/>
          </ac:spMkLst>
        </pc:spChg>
        <pc:spChg chg="mod">
          <ac:chgData name="Fatma Alsagaf" userId="ef587b5e-378a-4bb3-aa9f-3c15b98138a4" providerId="ADAL" clId="{EA3EF6B8-8642-4B5F-8380-9CD710A0C079}" dt="2023-08-15T10:14:14.941" v="2300"/>
          <ac:spMkLst>
            <pc:docMk/>
            <pc:sldMk cId="1299294744" sldId="2147377179"/>
            <ac:spMk id="101" creationId="{78745972-6659-B8A4-4A62-7C130AB63908}"/>
          </ac:spMkLst>
        </pc:spChg>
        <pc:spChg chg="mod">
          <ac:chgData name="Fatma Alsagaf" userId="ef587b5e-378a-4bb3-aa9f-3c15b98138a4" providerId="ADAL" clId="{EA3EF6B8-8642-4B5F-8380-9CD710A0C079}" dt="2023-08-15T10:14:14.941" v="2300"/>
          <ac:spMkLst>
            <pc:docMk/>
            <pc:sldMk cId="1299294744" sldId="2147377179"/>
            <ac:spMk id="102" creationId="{86C96A55-0734-F9EB-AA4F-FA209640587D}"/>
          </ac:spMkLst>
        </pc:spChg>
        <pc:spChg chg="mod">
          <ac:chgData name="Fatma Alsagaf" userId="ef587b5e-378a-4bb3-aa9f-3c15b98138a4" providerId="ADAL" clId="{EA3EF6B8-8642-4B5F-8380-9CD710A0C079}" dt="2023-08-15T10:14:14.941" v="2300"/>
          <ac:spMkLst>
            <pc:docMk/>
            <pc:sldMk cId="1299294744" sldId="2147377179"/>
            <ac:spMk id="103" creationId="{A14AA353-03DC-871F-E0BC-8362F06608EA}"/>
          </ac:spMkLst>
        </pc:spChg>
        <pc:spChg chg="mod">
          <ac:chgData name="Fatma Alsagaf" userId="ef587b5e-378a-4bb3-aa9f-3c15b98138a4" providerId="ADAL" clId="{EA3EF6B8-8642-4B5F-8380-9CD710A0C079}" dt="2023-08-15T10:14:14.941" v="2300"/>
          <ac:spMkLst>
            <pc:docMk/>
            <pc:sldMk cId="1299294744" sldId="2147377179"/>
            <ac:spMk id="104" creationId="{74727192-A554-2EA6-3150-31279A773F6E}"/>
          </ac:spMkLst>
        </pc:spChg>
        <pc:spChg chg="add mod">
          <ac:chgData name="Fatma Alsagaf" userId="ef587b5e-378a-4bb3-aa9f-3c15b98138a4" providerId="ADAL" clId="{EA3EF6B8-8642-4B5F-8380-9CD710A0C079}" dt="2023-08-15T11:11:28.422" v="2514" actId="1076"/>
          <ac:spMkLst>
            <pc:docMk/>
            <pc:sldMk cId="1299294744" sldId="2147377179"/>
            <ac:spMk id="105" creationId="{765C400A-E02E-0873-493F-C1958AEC6AAE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037" creationId="{5166BF82-4561-73AE-10F9-DBEF434E3B5E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038" creationId="{59217978-C89C-7D39-8531-BD98A49C8CC6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039" creationId="{CB5EFBBE-C397-E7C6-81B4-E829856537BA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044" creationId="{0B005E25-5BC0-F662-E206-5FE2B4112113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047" creationId="{4AACF8A3-0E25-E49D-2B91-C36CA883277F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048" creationId="{69E7927F-8198-EB98-6B58-6DA54F0AE4AB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20" creationId="{8B5717C5-6C94-D502-943E-9D385309BAC8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21" creationId="{1C7D553F-A1C0-5371-0CBA-A3D30107A779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22" creationId="{B0FFE920-EB6F-B398-114F-EF5B273B0E6A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24" creationId="{64AC6211-B257-764B-0795-803480390AEA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26" creationId="{9B552A63-9BFB-0519-193A-D826E977A8DA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27" creationId="{5AA326AB-2D51-1A93-E473-EF930DE47F1D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28" creationId="{B627766F-9018-A565-B427-C848DA4E0991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31" creationId="{F8952C8E-B4AD-8E68-1476-F1D1158A14C0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33" creationId="{0334937E-C5B4-452D-6388-D03CD3F58825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34" creationId="{F25800B1-6341-7833-1F04-3C84600FBAEA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35" creationId="{5623696E-978A-90DC-1451-391BCD63EBE5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39" creationId="{A3095D28-F057-ABDF-239E-981A506352BA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40" creationId="{4D2B4ABF-D65D-BAC9-FAD7-F17E9DF8D1BA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42" creationId="{980B1FDE-AC04-B584-EC7C-68CF9A38D16C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43" creationId="{C31C3C76-848E-7F7E-EDCF-14B4E18E03E9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46" creationId="{B0F16B8B-7EA3-79A6-98AD-B8DDAF488F58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47" creationId="{49A1AF66-E087-355A-3998-D592BFDA1FDF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48" creationId="{E22FE7A0-EEA6-9424-95DE-1DF34785D67F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50" creationId="{2F67B5FE-0D70-F276-F84C-A4479325E1FF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51" creationId="{1D486F1D-7B22-FEDF-2F59-C32B4472A79D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152" creationId="{D797E617-FF7F-AAA6-CBFD-C3C3C6623EBC}"/>
          </ac:spMkLst>
        </pc:spChg>
        <pc:spChg chg="del">
          <ac:chgData name="Fatma Alsagaf" userId="ef587b5e-378a-4bb3-aa9f-3c15b98138a4" providerId="ADAL" clId="{EA3EF6B8-8642-4B5F-8380-9CD710A0C079}" dt="2023-08-15T08:20:51.641" v="1614" actId="478"/>
          <ac:spMkLst>
            <pc:docMk/>
            <pc:sldMk cId="1299294744" sldId="2147377179"/>
            <ac:spMk id="1158" creationId="{625B54CC-5219-DDAE-1A0F-2330045E3908}"/>
          </ac:spMkLst>
        </pc:spChg>
        <pc:spChg chg="mod">
          <ac:chgData name="Fatma Alsagaf" userId="ef587b5e-378a-4bb3-aa9f-3c15b98138a4" providerId="ADAL" clId="{EA3EF6B8-8642-4B5F-8380-9CD710A0C079}" dt="2023-08-15T10:48:19.088" v="2402" actId="207"/>
          <ac:spMkLst>
            <pc:docMk/>
            <pc:sldMk cId="1299294744" sldId="2147377179"/>
            <ac:spMk id="1190" creationId="{1D1F594E-BF8D-E175-BFCE-BEA2367E5B70}"/>
          </ac:spMkLst>
        </pc:spChg>
        <pc:spChg chg="mod">
          <ac:chgData name="Fatma Alsagaf" userId="ef587b5e-378a-4bb3-aa9f-3c15b98138a4" providerId="ADAL" clId="{EA3EF6B8-8642-4B5F-8380-9CD710A0C079}" dt="2023-08-15T10:48:21.087" v="2403" actId="207"/>
          <ac:spMkLst>
            <pc:docMk/>
            <pc:sldMk cId="1299294744" sldId="2147377179"/>
            <ac:spMk id="1191" creationId="{550C95C4-31F0-9071-6500-545BA90B516D}"/>
          </ac:spMkLst>
        </pc:spChg>
        <pc:spChg chg="add del mod">
          <ac:chgData name="Fatma Alsagaf" userId="ef587b5e-378a-4bb3-aa9f-3c15b98138a4" providerId="ADAL" clId="{EA3EF6B8-8642-4B5F-8380-9CD710A0C079}" dt="2023-08-15T10:54:26.357" v="2462" actId="14100"/>
          <ac:spMkLst>
            <pc:docMk/>
            <pc:sldMk cId="1299294744" sldId="2147377179"/>
            <ac:spMk id="1213" creationId="{B80D55FD-85FB-F9FE-F95B-53FC6CC8678D}"/>
          </ac:spMkLst>
        </pc:spChg>
        <pc:spChg chg="mod">
          <ac:chgData name="Fatma Alsagaf" userId="ef587b5e-378a-4bb3-aa9f-3c15b98138a4" providerId="ADAL" clId="{EA3EF6B8-8642-4B5F-8380-9CD710A0C079}" dt="2023-08-15T10:54:26.573" v="2463" actId="1076"/>
          <ac:spMkLst>
            <pc:docMk/>
            <pc:sldMk cId="1299294744" sldId="2147377179"/>
            <ac:spMk id="1214" creationId="{AF4827D6-D41C-729C-D903-D0C2D7E21DA4}"/>
          </ac:spMkLst>
        </pc:spChg>
        <pc:spChg chg="mod">
          <ac:chgData name="Fatma Alsagaf" userId="ef587b5e-378a-4bb3-aa9f-3c15b98138a4" providerId="ADAL" clId="{EA3EF6B8-8642-4B5F-8380-9CD710A0C079}" dt="2023-08-15T10:54:26.573" v="2463" actId="1076"/>
          <ac:spMkLst>
            <pc:docMk/>
            <pc:sldMk cId="1299294744" sldId="2147377179"/>
            <ac:spMk id="1215" creationId="{9570993C-0596-2B65-FB13-EE8C34BA445D}"/>
          </ac:spMkLst>
        </pc:spChg>
        <pc:spChg chg="add del mod">
          <ac:chgData name="Fatma Alsagaf" userId="ef587b5e-378a-4bb3-aa9f-3c15b98138a4" providerId="ADAL" clId="{EA3EF6B8-8642-4B5F-8380-9CD710A0C079}" dt="2023-08-15T10:54:28.116" v="2467" actId="478"/>
          <ac:spMkLst>
            <pc:docMk/>
            <pc:sldMk cId="1299294744" sldId="2147377179"/>
            <ac:spMk id="1216" creationId="{9F450735-C6D4-06E6-8486-4CBA0FB1B38F}"/>
          </ac:spMkLst>
        </pc:spChg>
        <pc:spChg chg="add del mod">
          <ac:chgData name="Fatma Alsagaf" userId="ef587b5e-378a-4bb3-aa9f-3c15b98138a4" providerId="ADAL" clId="{EA3EF6B8-8642-4B5F-8380-9CD710A0C079}" dt="2023-08-15T10:54:28.531" v="2468" actId="478"/>
          <ac:spMkLst>
            <pc:docMk/>
            <pc:sldMk cId="1299294744" sldId="2147377179"/>
            <ac:spMk id="1217" creationId="{9F92D10B-A4BE-1FEB-2E5A-8F2EA5E1B4B4}"/>
          </ac:spMkLst>
        </pc:spChg>
        <pc:spChg chg="mod">
          <ac:chgData name="Fatma Alsagaf" userId="ef587b5e-378a-4bb3-aa9f-3c15b98138a4" providerId="ADAL" clId="{EA3EF6B8-8642-4B5F-8380-9CD710A0C079}" dt="2023-08-15T10:46:41.704" v="2388" actId="1076"/>
          <ac:spMkLst>
            <pc:docMk/>
            <pc:sldMk cId="1299294744" sldId="2147377179"/>
            <ac:spMk id="1218" creationId="{65114EEB-1CFE-9BC0-5465-4D42483C4A10}"/>
          </ac:spMkLst>
        </pc:spChg>
        <pc:spChg chg="mod">
          <ac:chgData name="Fatma Alsagaf" userId="ef587b5e-378a-4bb3-aa9f-3c15b98138a4" providerId="ADAL" clId="{EA3EF6B8-8642-4B5F-8380-9CD710A0C079}" dt="2023-08-15T10:51:49.484" v="2443" actId="14100"/>
          <ac:spMkLst>
            <pc:docMk/>
            <pc:sldMk cId="1299294744" sldId="2147377179"/>
            <ac:spMk id="1219" creationId="{204388A3-5A74-1C84-0CD1-68D4D4AD7EDB}"/>
          </ac:spMkLst>
        </pc:spChg>
        <pc:spChg chg="add del mod">
          <ac:chgData name="Fatma Alsagaf" userId="ef587b5e-378a-4bb3-aa9f-3c15b98138a4" providerId="ADAL" clId="{EA3EF6B8-8642-4B5F-8380-9CD710A0C079}" dt="2023-08-15T10:06:34.463" v="2221" actId="478"/>
          <ac:spMkLst>
            <pc:docMk/>
            <pc:sldMk cId="1299294744" sldId="2147377179"/>
            <ac:spMk id="1233" creationId="{73D47831-2FF8-B541-F0CC-F1C04470770B}"/>
          </ac:spMkLst>
        </pc:spChg>
        <pc:spChg chg="add del mod">
          <ac:chgData name="Fatma Alsagaf" userId="ef587b5e-378a-4bb3-aa9f-3c15b98138a4" providerId="ADAL" clId="{EA3EF6B8-8642-4B5F-8380-9CD710A0C079}" dt="2023-08-15T10:06:33.035" v="2220" actId="478"/>
          <ac:spMkLst>
            <pc:docMk/>
            <pc:sldMk cId="1299294744" sldId="2147377179"/>
            <ac:spMk id="1234" creationId="{C21BF11C-16DA-909E-27FC-97E3FEC97866}"/>
          </ac:spMkLst>
        </pc:spChg>
        <pc:spChg chg="mod">
          <ac:chgData name="Fatma Alsagaf" userId="ef587b5e-378a-4bb3-aa9f-3c15b98138a4" providerId="ADAL" clId="{EA3EF6B8-8642-4B5F-8380-9CD710A0C079}" dt="2023-08-15T10:50:53.800" v="2438" actId="14100"/>
          <ac:spMkLst>
            <pc:docMk/>
            <pc:sldMk cId="1299294744" sldId="2147377179"/>
            <ac:spMk id="1236" creationId="{C8885B41-ABDD-AFAD-8EC9-A078DFD91425}"/>
          </ac:spMkLst>
        </pc:spChg>
        <pc:spChg chg="mod">
          <ac:chgData name="Fatma Alsagaf" userId="ef587b5e-378a-4bb3-aa9f-3c15b98138a4" providerId="ADAL" clId="{EA3EF6B8-8642-4B5F-8380-9CD710A0C079}" dt="2023-08-15T10:46:41.704" v="2388" actId="1076"/>
          <ac:spMkLst>
            <pc:docMk/>
            <pc:sldMk cId="1299294744" sldId="2147377179"/>
            <ac:spMk id="1237" creationId="{50AD354D-457B-955D-E3EF-614AA9223050}"/>
          </ac:spMkLst>
        </pc:spChg>
        <pc:spChg chg="mod">
          <ac:chgData name="Fatma Alsagaf" userId="ef587b5e-378a-4bb3-aa9f-3c15b98138a4" providerId="ADAL" clId="{EA3EF6B8-8642-4B5F-8380-9CD710A0C079}" dt="2023-08-15T10:46:41.704" v="2388" actId="1076"/>
          <ac:spMkLst>
            <pc:docMk/>
            <pc:sldMk cId="1299294744" sldId="2147377179"/>
            <ac:spMk id="1238" creationId="{14F49049-9FB3-B95D-C130-5525BAC8E225}"/>
          </ac:spMkLst>
        </pc:spChg>
        <pc:spChg chg="add del mod">
          <ac:chgData name="Fatma Alsagaf" userId="ef587b5e-378a-4bb3-aa9f-3c15b98138a4" providerId="ADAL" clId="{EA3EF6B8-8642-4B5F-8380-9CD710A0C079}" dt="2023-08-15T10:54:27.614" v="2466" actId="478"/>
          <ac:spMkLst>
            <pc:docMk/>
            <pc:sldMk cId="1299294744" sldId="2147377179"/>
            <ac:spMk id="1239" creationId="{64D81084-FAB1-1FA3-0CCF-C685C5E678B5}"/>
          </ac:spMkLst>
        </pc:spChg>
        <pc:spChg chg="add del mod">
          <ac:chgData name="Fatma Alsagaf" userId="ef587b5e-378a-4bb3-aa9f-3c15b98138a4" providerId="ADAL" clId="{EA3EF6B8-8642-4B5F-8380-9CD710A0C079}" dt="2023-08-15T10:54:27.192" v="2465" actId="478"/>
          <ac:spMkLst>
            <pc:docMk/>
            <pc:sldMk cId="1299294744" sldId="2147377179"/>
            <ac:spMk id="1240" creationId="{09F68519-8EE9-8E74-1EFB-B84065CCA534}"/>
          </ac:spMkLst>
        </pc:spChg>
        <pc:spChg chg="mod">
          <ac:chgData name="Fatma Alsagaf" userId="ef587b5e-378a-4bb3-aa9f-3c15b98138a4" providerId="ADAL" clId="{EA3EF6B8-8642-4B5F-8380-9CD710A0C079}" dt="2023-08-15T10:46:41.704" v="2388" actId="1076"/>
          <ac:spMkLst>
            <pc:docMk/>
            <pc:sldMk cId="1299294744" sldId="2147377179"/>
            <ac:spMk id="1241" creationId="{1D71184F-862B-4F18-8AD6-62F1ED56C979}"/>
          </ac:spMkLst>
        </pc:spChg>
        <pc:spChg chg="mod">
          <ac:chgData name="Fatma Alsagaf" userId="ef587b5e-378a-4bb3-aa9f-3c15b98138a4" providerId="ADAL" clId="{EA3EF6B8-8642-4B5F-8380-9CD710A0C079}" dt="2023-08-15T10:52:07.617" v="2447" actId="1076"/>
          <ac:spMkLst>
            <pc:docMk/>
            <pc:sldMk cId="1299294744" sldId="2147377179"/>
            <ac:spMk id="1242" creationId="{E4BE24B8-410F-0EA2-7CF5-08598FF8BCB9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243" creationId="{42069ED2-CA38-D075-778D-09A80FB4237D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245" creationId="{44B7D8B9-4B95-31F9-CB0B-64E393439074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246" creationId="{BA3A32B2-7FC8-C1F2-E117-A510FD7F969B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247" creationId="{C337FC8D-5117-6F31-7192-15CE883C0A81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248" creationId="{607E6321-F27A-4450-DED0-A686937C78A3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249" creationId="{FF1F679E-D051-3795-39E9-08564A87DC5C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251" creationId="{7CE9E3F0-9706-9594-FEB8-BAEFF4DA8349}"/>
          </ac:spMkLst>
        </pc:spChg>
        <pc:spChg chg="mod">
          <ac:chgData name="Fatma Alsagaf" userId="ef587b5e-378a-4bb3-aa9f-3c15b98138a4" providerId="ADAL" clId="{EA3EF6B8-8642-4B5F-8380-9CD710A0C079}" dt="2023-08-15T10:46:49.123" v="2389" actId="1076"/>
          <ac:spMkLst>
            <pc:docMk/>
            <pc:sldMk cId="1299294744" sldId="2147377179"/>
            <ac:spMk id="1253" creationId="{1DCA665E-3E10-3BEE-8ACD-DE84BC92D381}"/>
          </ac:spMkLst>
        </pc:spChg>
        <pc:grpChg chg="add del mod">
          <ac:chgData name="Fatma Alsagaf" userId="ef587b5e-378a-4bb3-aa9f-3c15b98138a4" providerId="ADAL" clId="{EA3EF6B8-8642-4B5F-8380-9CD710A0C079}" dt="2023-08-15T08:22:28.516" v="1619"/>
          <ac:grpSpMkLst>
            <pc:docMk/>
            <pc:sldMk cId="1299294744" sldId="2147377179"/>
            <ac:grpSpMk id="4" creationId="{480325B7-5048-5016-0671-5C1496E67893}"/>
          </ac:grpSpMkLst>
        </pc:grpChg>
        <pc:grpChg chg="add mod ord topLvl">
          <ac:chgData name="Fatma Alsagaf" userId="ef587b5e-378a-4bb3-aa9f-3c15b98138a4" providerId="ADAL" clId="{EA3EF6B8-8642-4B5F-8380-9CD710A0C079}" dt="2023-08-15T09:43:00.591" v="1991" actId="164"/>
          <ac:grpSpMkLst>
            <pc:docMk/>
            <pc:sldMk cId="1299294744" sldId="2147377179"/>
            <ac:grpSpMk id="19" creationId="{275D722C-8DD0-1B6E-73D9-B4DE19D76A92}"/>
          </ac:grpSpMkLst>
        </pc:grpChg>
        <pc:grpChg chg="add del mod">
          <ac:chgData name="Fatma Alsagaf" userId="ef587b5e-378a-4bb3-aa9f-3c15b98138a4" providerId="ADAL" clId="{EA3EF6B8-8642-4B5F-8380-9CD710A0C079}" dt="2023-08-15T09:42:42.504" v="1987" actId="165"/>
          <ac:grpSpMkLst>
            <pc:docMk/>
            <pc:sldMk cId="1299294744" sldId="2147377179"/>
            <ac:grpSpMk id="29" creationId="{9C35A623-95DE-EB6E-81FB-E6D8B005932B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37" creationId="{6FB7F9A6-16F9-BB89-67E9-2C9C1EACF84C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48" creationId="{7BBF7429-E020-CE5A-F38A-76BC3F2EA7E6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62" creationId="{4A54930B-EF0B-AEC5-7A77-205210FCAFDC}"/>
          </ac:grpSpMkLst>
        </pc:grpChg>
        <pc:grpChg chg="add mod">
          <ac:chgData name="Fatma Alsagaf" userId="ef587b5e-378a-4bb3-aa9f-3c15b98138a4" providerId="ADAL" clId="{EA3EF6B8-8642-4B5F-8380-9CD710A0C079}" dt="2023-08-15T09:42:22.214" v="1981" actId="164"/>
          <ac:grpSpMkLst>
            <pc:docMk/>
            <pc:sldMk cId="1299294744" sldId="2147377179"/>
            <ac:grpSpMk id="70" creationId="{BC16241A-B864-7A06-FFF3-933433037987}"/>
          </ac:grpSpMkLst>
        </pc:grpChg>
        <pc:grpChg chg="add mod">
          <ac:chgData name="Fatma Alsagaf" userId="ef587b5e-378a-4bb3-aa9f-3c15b98138a4" providerId="ADAL" clId="{EA3EF6B8-8642-4B5F-8380-9CD710A0C079}" dt="2023-08-15T09:41:59.264" v="1976" actId="338"/>
          <ac:grpSpMkLst>
            <pc:docMk/>
            <pc:sldMk cId="1299294744" sldId="2147377179"/>
            <ac:grpSpMk id="71" creationId="{0FD99F7C-A9B7-37C2-284A-80ACC537EB74}"/>
          </ac:grpSpMkLst>
        </pc:grpChg>
        <pc:grpChg chg="add mod">
          <ac:chgData name="Fatma Alsagaf" userId="ef587b5e-378a-4bb3-aa9f-3c15b98138a4" providerId="ADAL" clId="{EA3EF6B8-8642-4B5F-8380-9CD710A0C079}" dt="2023-08-15T09:43:13.720" v="1996" actId="164"/>
          <ac:grpSpMkLst>
            <pc:docMk/>
            <pc:sldMk cId="1299294744" sldId="2147377179"/>
            <ac:grpSpMk id="72" creationId="{B250B0AE-A381-6F49-7DAA-53892597FF66}"/>
          </ac:grpSpMkLst>
        </pc:grpChg>
        <pc:grpChg chg="add mod">
          <ac:chgData name="Fatma Alsagaf" userId="ef587b5e-378a-4bb3-aa9f-3c15b98138a4" providerId="ADAL" clId="{EA3EF6B8-8642-4B5F-8380-9CD710A0C079}" dt="2023-08-15T10:00:32.719" v="2158" actId="164"/>
          <ac:grpSpMkLst>
            <pc:docMk/>
            <pc:sldMk cId="1299294744" sldId="2147377179"/>
            <ac:grpSpMk id="73" creationId="{D817C408-FCB2-733C-4A9E-CD42213EB877}"/>
          </ac:grpSpMkLst>
        </pc:grpChg>
        <pc:grpChg chg="add mod">
          <ac:chgData name="Fatma Alsagaf" userId="ef587b5e-378a-4bb3-aa9f-3c15b98138a4" providerId="ADAL" clId="{EA3EF6B8-8642-4B5F-8380-9CD710A0C079}" dt="2023-08-15T10:00:32.719" v="2158" actId="164"/>
          <ac:grpSpMkLst>
            <pc:docMk/>
            <pc:sldMk cId="1299294744" sldId="2147377179"/>
            <ac:grpSpMk id="74" creationId="{893A2180-214E-B464-CE33-E9078231DD6A}"/>
          </ac:grpSpMkLst>
        </pc:grpChg>
        <pc:grpChg chg="del mod">
          <ac:chgData name="Fatma Alsagaf" userId="ef587b5e-378a-4bb3-aa9f-3c15b98138a4" providerId="ADAL" clId="{EA3EF6B8-8642-4B5F-8380-9CD710A0C079}" dt="2023-08-15T09:43:56.012" v="2011" actId="478"/>
          <ac:grpSpMkLst>
            <pc:docMk/>
            <pc:sldMk cId="1299294744" sldId="2147377179"/>
            <ac:grpSpMk id="79" creationId="{ECDEAE4E-0351-09EC-CB06-9AED524713D9}"/>
          </ac:grpSpMkLst>
        </pc:grpChg>
        <pc:grpChg chg="mod">
          <ac:chgData name="Fatma Alsagaf" userId="ef587b5e-378a-4bb3-aa9f-3c15b98138a4" providerId="ADAL" clId="{EA3EF6B8-8642-4B5F-8380-9CD710A0C079}" dt="2023-08-15T09:43:17.491" v="1997"/>
          <ac:grpSpMkLst>
            <pc:docMk/>
            <pc:sldMk cId="1299294744" sldId="2147377179"/>
            <ac:grpSpMk id="80" creationId="{7B92E56B-055D-A6D9-8398-EFE767BB536C}"/>
          </ac:grpSpMkLst>
        </pc:grpChg>
        <pc:grpChg chg="add mod">
          <ac:chgData name="Fatma Alsagaf" userId="ef587b5e-378a-4bb3-aa9f-3c15b98138a4" providerId="ADAL" clId="{EA3EF6B8-8642-4B5F-8380-9CD710A0C079}" dt="2023-08-15T10:01:49.693" v="2174" actId="1076"/>
          <ac:grpSpMkLst>
            <pc:docMk/>
            <pc:sldMk cId="1299294744" sldId="2147377179"/>
            <ac:grpSpMk id="89" creationId="{2A4D31A9-FB74-C163-984D-0CE21F7A2F72}"/>
          </ac:grpSpMkLst>
        </pc:grpChg>
        <pc:grpChg chg="add del mod">
          <ac:chgData name="Fatma Alsagaf" userId="ef587b5e-378a-4bb3-aa9f-3c15b98138a4" providerId="ADAL" clId="{EA3EF6B8-8642-4B5F-8380-9CD710A0C079}" dt="2023-08-15T10:56:10.978" v="2470" actId="14100"/>
          <ac:grpSpMkLst>
            <pc:docMk/>
            <pc:sldMk cId="1299294744" sldId="2147377179"/>
            <ac:grpSpMk id="90" creationId="{7553B7CB-A068-A67E-D975-5794D325A6A5}"/>
          </ac:grpSpMkLst>
        </pc:grpChg>
        <pc:grpChg chg="add 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91" creationId="{04154F84-525B-B915-15FA-38CB4DD30E11}"/>
          </ac:grpSpMkLst>
        </pc:grpChg>
        <pc:grpChg chg="add 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92" creationId="{F8B4C5D7-FC0E-144A-6DB1-691A1A6C13A0}"/>
          </ac:grpSpMkLst>
        </pc:grpChg>
        <pc:grpChg chg="add 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93" creationId="{84242A4D-F352-EAE3-7B93-DDC5200F72F4}"/>
          </ac:grpSpMkLst>
        </pc:grpChg>
        <pc:grpChg chg="add del mod">
          <ac:chgData name="Fatma Alsagaf" userId="ef587b5e-378a-4bb3-aa9f-3c15b98138a4" providerId="ADAL" clId="{EA3EF6B8-8642-4B5F-8380-9CD710A0C079}" dt="2023-08-15T10:14:26.597" v="2305"/>
          <ac:grpSpMkLst>
            <pc:docMk/>
            <pc:sldMk cId="1299294744" sldId="2147377179"/>
            <ac:grpSpMk id="94" creationId="{83120B89-94E8-58E9-E75D-E1A6B69DD54A}"/>
          </ac:grpSpMkLst>
        </pc:grpChg>
        <pc:grpChg chg="mod">
          <ac:chgData name="Fatma Alsagaf" userId="ef587b5e-378a-4bb3-aa9f-3c15b98138a4" providerId="ADAL" clId="{EA3EF6B8-8642-4B5F-8380-9CD710A0C079}" dt="2023-08-15T10:14:14.941" v="2300"/>
          <ac:grpSpMkLst>
            <pc:docMk/>
            <pc:sldMk cId="1299294744" sldId="2147377179"/>
            <ac:grpSpMk id="95" creationId="{B516F968-BDC3-0E63-539E-821EC05FC703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028" creationId="{A15CDEE9-C59B-43C4-6EDE-A3F4485BF4ED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029" creationId="{6AAB5D59-EB72-24D2-26A8-93D8C5B3BB64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043" creationId="{B4936587-C9F6-F0D8-5811-C5D8119FADA2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073" creationId="{FB031AB7-263C-F507-5092-52C3F04CCB24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076" creationId="{15058FF2-13BD-BD74-D606-8BFE8C50FDD2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081" creationId="{F08C1AD2-A9C5-47A8-2380-FCB82C6B697C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118" creationId="{856C7A36-D0EC-7D76-64D9-6D8CE5257264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119" creationId="{583DCB4B-3977-5F53-B9AD-44263B21EC64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123" creationId="{740F60AC-766E-C755-B0BD-F832B4C47E2B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125" creationId="{52AD1B78-7537-29F2-A913-F15F3CFC6998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130" creationId="{C2B2F393-8FAF-A62E-5F6D-D28AD85E7912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132" creationId="{4143FD40-CEFF-D9D5-8ED5-FF3E6CCB7714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137" creationId="{FB7B2371-E14E-BC2B-F649-FBF90FC5BD60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138" creationId="{22BFC949-65E8-8872-4C63-2CA1AEC569E5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141" creationId="{854A2012-E356-F3B2-C757-0A5651AE0DF7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145" creationId="{6B3B6BDE-5774-4697-59C8-1B424CBF9DFB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149" creationId="{1BBB1073-62E0-DE3E-8B46-B3D80357C2F7}"/>
          </ac:grpSpMkLst>
        </pc:grpChg>
        <pc:grpChg chg="del">
          <ac:chgData name="Fatma Alsagaf" userId="ef587b5e-378a-4bb3-aa9f-3c15b98138a4" providerId="ADAL" clId="{EA3EF6B8-8642-4B5F-8380-9CD710A0C079}" dt="2023-08-15T08:20:51.641" v="1614" actId="478"/>
          <ac:grpSpMkLst>
            <pc:docMk/>
            <pc:sldMk cId="1299294744" sldId="2147377179"/>
            <ac:grpSpMk id="1181" creationId="{B1620E89-4FFF-C3DA-DF5E-AD1ADCB395DD}"/>
          </ac:grpSpMkLst>
        </pc:grpChg>
        <pc:grpChg chg="del">
          <ac:chgData name="Fatma Alsagaf" userId="ef587b5e-378a-4bb3-aa9f-3c15b98138a4" providerId="ADAL" clId="{EA3EF6B8-8642-4B5F-8380-9CD710A0C079}" dt="2023-08-15T08:20:51.641" v="1614" actId="478"/>
          <ac:grpSpMkLst>
            <pc:docMk/>
            <pc:sldMk cId="1299294744" sldId="2147377179"/>
            <ac:grpSpMk id="1182" creationId="{280C4AEB-C8A3-0B2E-8965-F430C38DC6FC}"/>
          </ac:grpSpMkLst>
        </pc:grpChg>
        <pc:grpChg chg="del">
          <ac:chgData name="Fatma Alsagaf" userId="ef587b5e-378a-4bb3-aa9f-3c15b98138a4" providerId="ADAL" clId="{EA3EF6B8-8642-4B5F-8380-9CD710A0C079}" dt="2023-08-15T08:20:51.641" v="1614" actId="478"/>
          <ac:grpSpMkLst>
            <pc:docMk/>
            <pc:sldMk cId="1299294744" sldId="2147377179"/>
            <ac:grpSpMk id="1183" creationId="{5705A7C9-FAB7-8006-E407-1824A6F1C466}"/>
          </ac:grpSpMkLst>
        </pc:grpChg>
        <pc:grpChg chg="del">
          <ac:chgData name="Fatma Alsagaf" userId="ef587b5e-378a-4bb3-aa9f-3c15b98138a4" providerId="ADAL" clId="{EA3EF6B8-8642-4B5F-8380-9CD710A0C079}" dt="2023-08-15T08:20:51.641" v="1614" actId="478"/>
          <ac:grpSpMkLst>
            <pc:docMk/>
            <pc:sldMk cId="1299294744" sldId="2147377179"/>
            <ac:grpSpMk id="1184" creationId="{CB29AF69-F5F7-6C97-2653-F8DC5DFB373B}"/>
          </ac:grpSpMkLst>
        </pc:grpChg>
        <pc:grpChg chg="mod">
          <ac:chgData name="Fatma Alsagaf" userId="ef587b5e-378a-4bb3-aa9f-3c15b98138a4" providerId="ADAL" clId="{EA3EF6B8-8642-4B5F-8380-9CD710A0C079}" dt="2023-08-15T10:46:41.704" v="2388" actId="1076"/>
          <ac:grpSpMkLst>
            <pc:docMk/>
            <pc:sldMk cId="1299294744" sldId="2147377179"/>
            <ac:grpSpMk id="1212" creationId="{172123FE-0855-2A6B-3DE7-495EA8003110}"/>
          </ac:grpSpMkLst>
        </pc:grpChg>
        <pc:grpChg chg="add del mod">
          <ac:chgData name="Fatma Alsagaf" userId="ef587b5e-378a-4bb3-aa9f-3c15b98138a4" providerId="ADAL" clId="{EA3EF6B8-8642-4B5F-8380-9CD710A0C079}" dt="2023-08-15T10:06:33.035" v="2220" actId="478"/>
          <ac:grpSpMkLst>
            <pc:docMk/>
            <pc:sldMk cId="1299294744" sldId="2147377179"/>
            <ac:grpSpMk id="1225" creationId="{DAF0B3C2-1F1F-67F3-D453-54298B4B9CAC}"/>
          </ac:grpSpMkLst>
        </pc:grpChg>
        <pc:grpChg chg="mod">
          <ac:chgData name="Fatma Alsagaf" userId="ef587b5e-378a-4bb3-aa9f-3c15b98138a4" providerId="ADAL" clId="{EA3EF6B8-8642-4B5F-8380-9CD710A0C079}" dt="2023-08-15T10:46:41.704" v="2388" actId="1076"/>
          <ac:grpSpMkLst>
            <pc:docMk/>
            <pc:sldMk cId="1299294744" sldId="2147377179"/>
            <ac:grpSpMk id="1235" creationId="{52C61586-7F4B-91B9-5010-8300C38F76F2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244" creationId="{81C43C17-A416-08CB-D83E-8861F9287531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255" creationId="{CB6D63CD-A2DA-3E15-67FF-E830EEC4DDF5}"/>
          </ac:grpSpMkLst>
        </pc:grpChg>
        <pc:grpChg chg="mod">
          <ac:chgData name="Fatma Alsagaf" userId="ef587b5e-378a-4bb3-aa9f-3c15b98138a4" providerId="ADAL" clId="{EA3EF6B8-8642-4B5F-8380-9CD710A0C079}" dt="2023-08-15T10:46:49.123" v="2389" actId="1076"/>
          <ac:grpSpMkLst>
            <pc:docMk/>
            <pc:sldMk cId="1299294744" sldId="2147377179"/>
            <ac:grpSpMk id="1256" creationId="{21032849-60A1-23F1-E205-609C123CABB5}"/>
          </ac:grpSpMkLst>
        </pc:grpChg>
        <pc:graphicFrameChg chg="mod modGraphic">
          <ac:chgData name="Fatma Alsagaf" userId="ef587b5e-378a-4bb3-aa9f-3c15b98138a4" providerId="ADAL" clId="{EA3EF6B8-8642-4B5F-8380-9CD710A0C079}" dt="2023-08-15T11:04:15.149" v="2477" actId="207"/>
          <ac:graphicFrameMkLst>
            <pc:docMk/>
            <pc:sldMk cId="1299294744" sldId="2147377179"/>
            <ac:graphicFrameMk id="7" creationId="{4432AC0E-D8E6-55A2-0D52-F50464E23312}"/>
          </ac:graphicFrameMkLst>
        </pc:graphicFrameChg>
        <pc:picChg chg="del mod">
          <ac:chgData name="Fatma Alsagaf" userId="ef587b5e-378a-4bb3-aa9f-3c15b98138a4" providerId="ADAL" clId="{EA3EF6B8-8642-4B5F-8380-9CD710A0C079}" dt="2023-08-15T10:50:26.052" v="2426" actId="478"/>
          <ac:picMkLst>
            <pc:docMk/>
            <pc:sldMk cId="1299294744" sldId="2147377179"/>
            <ac:picMk id="13" creationId="{CDD0C120-92D6-7BF1-66DC-72B4880FD275}"/>
          </ac:picMkLst>
        </pc:picChg>
        <pc:picChg chg="add del mod">
          <ac:chgData name="Fatma Alsagaf" userId="ef587b5e-378a-4bb3-aa9f-3c15b98138a4" providerId="ADAL" clId="{EA3EF6B8-8642-4B5F-8380-9CD710A0C079}" dt="2023-08-15T11:10:43.756" v="2490" actId="478"/>
          <ac:picMkLst>
            <pc:docMk/>
            <pc:sldMk cId="1299294744" sldId="2147377179"/>
            <ac:picMk id="106" creationId="{B521D4CD-F778-50BF-234E-3767C40CCA18}"/>
          </ac:picMkLst>
        </pc:picChg>
        <pc:picChg chg="add mod">
          <ac:chgData name="Fatma Alsagaf" userId="ef587b5e-378a-4bb3-aa9f-3c15b98138a4" providerId="ADAL" clId="{EA3EF6B8-8642-4B5F-8380-9CD710A0C079}" dt="2023-08-15T10:50:40.599" v="2436" actId="1035"/>
          <ac:picMkLst>
            <pc:docMk/>
            <pc:sldMk cId="1299294744" sldId="2147377179"/>
            <ac:picMk id="107" creationId="{AE054CDC-CDB8-334D-CCBF-C1BE0EF757BB}"/>
          </ac:picMkLst>
        </pc:picChg>
        <pc:picChg chg="del">
          <ac:chgData name="Fatma Alsagaf" userId="ef587b5e-378a-4bb3-aa9f-3c15b98138a4" providerId="ADAL" clId="{EA3EF6B8-8642-4B5F-8380-9CD710A0C079}" dt="2023-08-15T08:20:54.070" v="1615" actId="478"/>
          <ac:picMkLst>
            <pc:docMk/>
            <pc:sldMk cId="1299294744" sldId="2147377179"/>
            <ac:picMk id="1157" creationId="{391E6A35-B49F-04A5-2C2D-D891C7000ECF}"/>
          </ac:picMkLst>
        </pc:picChg>
        <pc:picChg chg="del">
          <ac:chgData name="Fatma Alsagaf" userId="ef587b5e-378a-4bb3-aa9f-3c15b98138a4" providerId="ADAL" clId="{EA3EF6B8-8642-4B5F-8380-9CD710A0C079}" dt="2023-08-15T08:20:51.641" v="1614" actId="478"/>
          <ac:picMkLst>
            <pc:docMk/>
            <pc:sldMk cId="1299294744" sldId="2147377179"/>
            <ac:picMk id="1159" creationId="{1A7502C5-FF8F-310C-B6BF-F9FD01AEB333}"/>
          </ac:picMkLst>
        </pc:picChg>
        <pc:cxnChg chg="mod">
          <ac:chgData name="Fatma Alsagaf" userId="ef587b5e-378a-4bb3-aa9f-3c15b98138a4" providerId="ADAL" clId="{EA3EF6B8-8642-4B5F-8380-9CD710A0C079}" dt="2023-08-15T10:46:49.123" v="2389" actId="1076"/>
          <ac:cxnSpMkLst>
            <pc:docMk/>
            <pc:sldMk cId="1299294744" sldId="2147377179"/>
            <ac:cxnSpMk id="45" creationId="{D9E4DCE6-1A6D-888E-25AF-049FD5C19797}"/>
          </ac:cxnSpMkLst>
        </pc:cxnChg>
        <pc:cxnChg chg="mod">
          <ac:chgData name="Fatma Alsagaf" userId="ef587b5e-378a-4bb3-aa9f-3c15b98138a4" providerId="ADAL" clId="{EA3EF6B8-8642-4B5F-8380-9CD710A0C079}" dt="2023-08-15T10:46:49.123" v="2389" actId="1076"/>
          <ac:cxnSpMkLst>
            <pc:docMk/>
            <pc:sldMk cId="1299294744" sldId="2147377179"/>
            <ac:cxnSpMk id="46" creationId="{6D998D91-5122-5556-756C-DBDF6B805BF9}"/>
          </ac:cxnSpMkLst>
        </pc:cxnChg>
        <pc:cxnChg chg="mod">
          <ac:chgData name="Fatma Alsagaf" userId="ef587b5e-378a-4bb3-aa9f-3c15b98138a4" providerId="ADAL" clId="{EA3EF6B8-8642-4B5F-8380-9CD710A0C079}" dt="2023-08-15T10:14:14.941" v="2300"/>
          <ac:cxnSpMkLst>
            <pc:docMk/>
            <pc:sldMk cId="1299294744" sldId="2147377179"/>
            <ac:cxnSpMk id="100" creationId="{D5AC8EA9-8D3A-2E40-5F7F-E01D8BCE9601}"/>
          </ac:cxnSpMkLst>
        </pc:cxnChg>
      </pc:sldChg>
      <pc:sldChg chg="addSp modSp new del">
        <pc:chgData name="Fatma Alsagaf" userId="ef587b5e-378a-4bb3-aa9f-3c15b98138a4" providerId="ADAL" clId="{EA3EF6B8-8642-4B5F-8380-9CD710A0C079}" dt="2023-08-15T11:09:37.745" v="2484" actId="2696"/>
        <pc:sldMkLst>
          <pc:docMk/>
          <pc:sldMk cId="3447873303" sldId="2147377180"/>
        </pc:sldMkLst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6" creationId="{006B8C00-7B49-DDA5-FEC2-8BDBD9290F56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7" creationId="{92C1BDC7-7065-19F3-542D-11CE4FAC6449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8" creationId="{E744DA6E-E265-0FB1-1A9E-57E02B5230BC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9" creationId="{E33E949D-F750-6919-C7AF-9AF36C1D0476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10" creationId="{229E8E50-B6DA-4376-5A54-C2BCC5C87521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11" creationId="{37EB31FD-943F-2310-E7F2-10DC143DDFAF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12" creationId="{4823C68C-A2EB-47EA-15AF-63AB158227A3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13" creationId="{1AA3C4F3-38EF-3D38-5A7A-9E71B553BBD0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14" creationId="{03CF4F99-92BC-969F-7C04-0CFC1C6C9870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15" creationId="{E854ABC7-4FB7-0A3A-D075-0FA9FAB0A80F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16" creationId="{003E08B9-C5D7-B5E9-9689-764EC8D8D456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17" creationId="{69754ABF-EA52-C966-E943-F93E0C5153A2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18" creationId="{4B918B74-4537-120C-0548-BB1BFC7DA6D5}"/>
          </ac:spMkLst>
        </pc:spChg>
        <pc:spChg chg="mod">
          <ac:chgData name="Fatma Alsagaf" userId="ef587b5e-378a-4bb3-aa9f-3c15b98138a4" providerId="ADAL" clId="{EA3EF6B8-8642-4B5F-8380-9CD710A0C079}" dt="2023-08-15T10:53:23.819" v="2450"/>
          <ac:spMkLst>
            <pc:docMk/>
            <pc:sldMk cId="3447873303" sldId="2147377180"/>
            <ac:spMk id="19" creationId="{C4F7EE39-6A2C-742D-B5CD-5829F66C18C8}"/>
          </ac:spMkLst>
        </pc:spChg>
        <pc:grpChg chg="add mod">
          <ac:chgData name="Fatma Alsagaf" userId="ef587b5e-378a-4bb3-aa9f-3c15b98138a4" providerId="ADAL" clId="{EA3EF6B8-8642-4B5F-8380-9CD710A0C079}" dt="2023-08-15T10:53:23.819" v="2450"/>
          <ac:grpSpMkLst>
            <pc:docMk/>
            <pc:sldMk cId="3447873303" sldId="2147377180"/>
            <ac:grpSpMk id="3" creationId="{79B7B05E-37E2-2E59-02EC-ADD5293C5FAA}"/>
          </ac:grpSpMkLst>
        </pc:grpChg>
        <pc:grpChg chg="mod">
          <ac:chgData name="Fatma Alsagaf" userId="ef587b5e-378a-4bb3-aa9f-3c15b98138a4" providerId="ADAL" clId="{EA3EF6B8-8642-4B5F-8380-9CD710A0C079}" dt="2023-08-15T10:53:23.819" v="2450"/>
          <ac:grpSpMkLst>
            <pc:docMk/>
            <pc:sldMk cId="3447873303" sldId="2147377180"/>
            <ac:grpSpMk id="4" creationId="{322F6FF0-C3D7-9BA8-2A91-940A8FA599CB}"/>
          </ac:grpSpMkLst>
        </pc:grpChg>
        <pc:grpChg chg="mod">
          <ac:chgData name="Fatma Alsagaf" userId="ef587b5e-378a-4bb3-aa9f-3c15b98138a4" providerId="ADAL" clId="{EA3EF6B8-8642-4B5F-8380-9CD710A0C079}" dt="2023-08-15T10:53:23.819" v="2450"/>
          <ac:grpSpMkLst>
            <pc:docMk/>
            <pc:sldMk cId="3447873303" sldId="2147377180"/>
            <ac:grpSpMk id="5" creationId="{9AAB8271-8D08-46AD-48A9-33696AFBE410}"/>
          </ac:grpSpMkLst>
        </pc:gr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346" y="3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C0E7FF-6411-41A8-AFE2-63FC2E19AEC1}" type="datetimeFigureOut">
              <a:rPr lang="en-US" smtClean="0"/>
              <a:t>17/01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1604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Note: The bonus assumption for all company codes in CMC - Kenya, Uganda, and Tanzania remains at x1 base salar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346" y="9431604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143345-B610-4DB2-A625-D87C12E4FA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21464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6" y="3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4A443F-5466-F846-A203-3275D50E491B}" type="datetimeFigureOut">
              <a:rPr lang="en-US" smtClean="0"/>
              <a:t>17/0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4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Note: The bonus assumption for all company codes in CMC - Kenya, Uganda, and Tanzania remains at x1 base salary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6" y="9431604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93A3DB-BFA6-1549-8E57-6A056F52F8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5352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4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5.xml"/><Relationship Id="rId6" Type="http://schemas.openxmlformats.org/officeDocument/2006/relationships/image" Target="../media/image10.jpeg"/><Relationship Id="rId5" Type="http://schemas.openxmlformats.org/officeDocument/2006/relationships/image" Target="../media/image11.jpe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6.xml"/><Relationship Id="rId6" Type="http://schemas.openxmlformats.org/officeDocument/2006/relationships/image" Target="../media/image10.jpeg"/><Relationship Id="rId5" Type="http://schemas.openxmlformats.org/officeDocument/2006/relationships/image" Target="../media/image12.jpe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7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6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7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9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7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8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0.xml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8.xml"/><Relationship Id="rId6" Type="http://schemas.openxmlformats.org/officeDocument/2006/relationships/image" Target="../media/image18.jpe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9.xml"/><Relationship Id="rId4" Type="http://schemas.openxmlformats.org/officeDocument/2006/relationships/image" Target="../media/image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0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1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6" Type="http://schemas.openxmlformats.org/officeDocument/2006/relationships/image" Target="../media/image10.jpeg"/><Relationship Id="rId5" Type="http://schemas.openxmlformats.org/officeDocument/2006/relationships/image" Target="../media/image11.jpe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6" Type="http://schemas.openxmlformats.org/officeDocument/2006/relationships/image" Target="../media/image10.jpeg"/><Relationship Id="rId5" Type="http://schemas.openxmlformats.org/officeDocument/2006/relationships/image" Target="../media/image12.jpe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19EF3A-3418-4F52-82F5-DEB9FFB4CD8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501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984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19EF3A-3418-4F52-82F5-DEB9FFB4CD8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501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379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16487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46743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43566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19EF3A-3418-4F52-82F5-DEB9FFB4CD8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501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928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25789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57430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3737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0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3/10/2020 8:41 AM Indi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81277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3239"/>
            <a:ext cx="12191028" cy="606432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ltGray">
          <a:xfrm>
            <a:off x="488407" y="2140465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ltGray">
          <a:xfrm>
            <a:off x="488407" y="228335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ltGray">
          <a:xfrm>
            <a:off x="488407" y="242624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3/10/2020 8:41 AM Indi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4874187"/>
            <a:ext cx="8050193" cy="502445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>
              <a:defRPr lang="x-none"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644140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71170" y="41453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1753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26345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15064" y="3241"/>
            <a:ext cx="12222127" cy="5994352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ltGray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ltGray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ltGray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3/10/2020 8:41 AM Indi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4874187"/>
            <a:ext cx="7779444" cy="502445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>
              <a:defRPr lang="x-none"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644140"/>
            <a:ext cx="777944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50815" y="6103435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9631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7833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713574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708257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0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C1DB425C-DB45-BB4B-B0CD-404AE0C29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3486" t="24765" r="8277" b="28474"/>
          <a:stretch/>
        </p:blipFill>
        <p:spPr>
          <a:xfrm>
            <a:off x="9108395" y="6021714"/>
            <a:ext cx="2858319" cy="799031"/>
          </a:xfrm>
          <a:prstGeom prst="rect">
            <a:avLst/>
          </a:prstGeom>
        </p:spPr>
      </p:pic>
      <p:pic>
        <p:nvPicPr>
          <p:cNvPr id="13" name="Picture 12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79F5D29D-1068-E442-854A-8034DF64995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510"/>
          <a:stretch/>
        </p:blipFill>
        <p:spPr>
          <a:xfrm>
            <a:off x="-8550" y="-1"/>
            <a:ext cx="12207838" cy="5019882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3537947C-2F19-EF41-BEDA-940C10B9EF35}"/>
              </a:ext>
            </a:extLst>
          </p:cNvPr>
          <p:cNvSpPr/>
          <p:nvPr/>
        </p:nvSpPr>
        <p:spPr>
          <a:xfrm>
            <a:off x="-33298" y="2807829"/>
            <a:ext cx="9961139" cy="2207005"/>
          </a:xfrm>
          <a:prstGeom prst="rtTriangle">
            <a:avLst/>
          </a:prstGeom>
          <a:solidFill>
            <a:schemeClr val="tx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dirty="0" err="1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/>
        </p:nvSpPr>
        <p:spPr>
          <a:xfrm flipH="1">
            <a:off x="-33298" y="3090502"/>
            <a:ext cx="12225297" cy="1967670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333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80178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950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26292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126376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037544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763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724400" y="6356350"/>
            <a:ext cx="2743200" cy="3651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-1-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21475"/>
            <a:ext cx="12192000" cy="1365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5358" y="127000"/>
            <a:ext cx="3461845" cy="8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3103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8251B-2A4A-F741-A30F-8A59FDE936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0312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8251B-2A4A-F741-A30F-8A59FDE936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709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44135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8251B-2A4A-F741-A30F-8A59FDE936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6152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0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C1DB425C-DB45-BB4B-B0CD-404AE0C29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3486" t="24765" r="8277" b="28474"/>
          <a:stretch/>
        </p:blipFill>
        <p:spPr>
          <a:xfrm>
            <a:off x="9108395" y="6021714"/>
            <a:ext cx="2858319" cy="799031"/>
          </a:xfrm>
          <a:prstGeom prst="rect">
            <a:avLst/>
          </a:prstGeom>
        </p:spPr>
      </p:pic>
      <p:pic>
        <p:nvPicPr>
          <p:cNvPr id="13" name="Picture 12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79F5D29D-1068-E442-854A-8034DF64995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510"/>
          <a:stretch/>
        </p:blipFill>
        <p:spPr>
          <a:xfrm>
            <a:off x="-8550" y="-1"/>
            <a:ext cx="12207838" cy="5019882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3537947C-2F19-EF41-BEDA-940C10B9EF35}"/>
              </a:ext>
            </a:extLst>
          </p:cNvPr>
          <p:cNvSpPr/>
          <p:nvPr/>
        </p:nvSpPr>
        <p:spPr>
          <a:xfrm>
            <a:off x="-33298" y="2807829"/>
            <a:ext cx="9961139" cy="2207005"/>
          </a:xfrm>
          <a:prstGeom prst="rtTriangle">
            <a:avLst/>
          </a:prstGeom>
          <a:solidFill>
            <a:schemeClr val="tx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dirty="0" err="1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/>
        </p:nvSpPr>
        <p:spPr>
          <a:xfrm flipH="1">
            <a:off x="-33298" y="3090502"/>
            <a:ext cx="12225297" cy="1967670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446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31840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20806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0867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1" hidden="1">
            <a:extLst>
              <a:ext uri="{FF2B5EF4-FFF2-40B4-BE49-F238E27FC236}">
                <a16:creationId xmlns:a16="http://schemas.microsoft.com/office/drawing/2014/main" id="{1D0156FE-1FA6-422F-AD71-489CAC3C89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324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61" hidden="1">
                        <a:extLst>
                          <a:ext uri="{FF2B5EF4-FFF2-40B4-BE49-F238E27FC236}">
                            <a16:creationId xmlns:a16="http://schemas.microsoft.com/office/drawing/2014/main" id="{1D0156FE-1FA6-422F-AD71-489CAC3C89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3240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>
            <a:extLst>
              <a:ext uri="{FF2B5EF4-FFF2-40B4-BE49-F238E27FC236}">
                <a16:creationId xmlns:a16="http://schemas.microsoft.com/office/drawing/2014/main" id="{46113A4A-87A2-4E44-9636-B730A59B18EA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323950"/>
            <a:ext cx="3795119" cy="128097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x-none" sz="816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>
            <a:extLst>
              <a:ext uri="{FF2B5EF4-FFF2-40B4-BE49-F238E27FC236}">
                <a16:creationId xmlns:a16="http://schemas.microsoft.com/office/drawing/2014/main" id="{4A61FD8C-07C9-4A18-BA26-3648B1696989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466487"/>
            <a:ext cx="3795119" cy="12634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GB" sz="81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12/08/2020 04:05 Arabian Standard Time</a:t>
            </a:r>
            <a:endParaRPr kumimoji="0" lang="x-none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CA8AC9FF-4A7D-48A7-8D3E-3F247743820E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610645"/>
            <a:ext cx="3795119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GB" sz="81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25/07/2020 16:01 Arabian Standard Time</a:t>
            </a:r>
            <a:endParaRPr kumimoji="0" lang="x-none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Document type" hidden="1">
            <a:extLst>
              <a:ext uri="{FF2B5EF4-FFF2-40B4-BE49-F238E27FC236}">
                <a16:creationId xmlns:a16="http://schemas.microsoft.com/office/drawing/2014/main" id="{E677A03E-511F-479B-BD43-2ABFC4889BF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9170" y="6324426"/>
            <a:ext cx="8048632" cy="22420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pic>
        <p:nvPicPr>
          <p:cNvPr id="9" name="Picture 600" descr="C:\Users\MYTHIL~1\AppData\Local\Temp\notes1FCF23\~b522205.TMP">
            <a:extLst>
              <a:ext uri="{FF2B5EF4-FFF2-40B4-BE49-F238E27FC236}">
                <a16:creationId xmlns:a16="http://schemas.microsoft.com/office/drawing/2014/main" id="{3E58F39C-04DF-4C06-897D-6A5A3EB937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8967040" y="6007634"/>
            <a:ext cx="3027348" cy="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oc id">
            <a:extLst>
              <a:ext uri="{FF2B5EF4-FFF2-40B4-BE49-F238E27FC236}">
                <a16:creationId xmlns:a16="http://schemas.microsoft.com/office/drawing/2014/main" id="{C032701B-ACE0-4A45-B959-CD9CE678A107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0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x-none"/>
            </a:pPr>
            <a:endParaRPr kumimoji="0" lang="x-none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/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/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x-none" noProof="0" dirty="0"/>
          </a:p>
        </p:txBody>
      </p:sp>
      <p:pic>
        <p:nvPicPr>
          <p:cNvPr id="12" name="Picture 2" descr="Automotive in China : Best Marketing Strategies at the Digital Age -  Marketing China">
            <a:extLst>
              <a:ext uri="{FF2B5EF4-FFF2-40B4-BE49-F238E27FC236}">
                <a16:creationId xmlns:a16="http://schemas.microsoft.com/office/drawing/2014/main" id="{C1F59318-3A03-4851-8A1A-2BA86E187D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0" cy="5019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21093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72C02C13-0475-47D7-A7CD-F60A7CD50E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72C02C13-0475-47D7-A7CD-F60A7CD50E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>
            <a:extLst>
              <a:ext uri="{FF2B5EF4-FFF2-40B4-BE49-F238E27FC236}">
                <a16:creationId xmlns:a16="http://schemas.microsoft.com/office/drawing/2014/main" id="{49CAF7EA-DCAC-423C-A2D4-BAC5779CA6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2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16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1453925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51A277AF-8CD8-4DE1-A34C-67D922DD4E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51A277AF-8CD8-4DE1-A34C-67D922DD4EC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2">
            <a:extLst>
              <a:ext uri="{FF2B5EF4-FFF2-40B4-BE49-F238E27FC236}">
                <a16:creationId xmlns:a16="http://schemas.microsoft.com/office/drawing/2014/main" id="{69D7805F-0ADD-4B9E-9FCA-59F5613DC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6" r="2364" b="5876"/>
          <a:stretch>
            <a:fillRect/>
          </a:stretch>
        </p:blipFill>
        <p:spPr bwMode="ltGray">
          <a:xfrm>
            <a:off x="3240" y="5293326"/>
            <a:ext cx="12188760" cy="1276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>
            <a:extLst>
              <a:ext uri="{FF2B5EF4-FFF2-40B4-BE49-F238E27FC236}">
                <a16:creationId xmlns:a16="http://schemas.microsoft.com/office/drawing/2014/main" id="{07C97B19-0611-4EB8-AC4F-848378BBE2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2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16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0742140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86B0A090-3AA3-4F7D-AE82-C1CBE0C4BA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86B0A090-3AA3-4F7D-AE82-C1CBE0C4BA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0193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4840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0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3/10/2020 8:41 AM Indi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90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3239"/>
            <a:ext cx="12191028" cy="606432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ltGray">
          <a:xfrm>
            <a:off x="488407" y="2140465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ltGray">
          <a:xfrm>
            <a:off x="488407" y="228335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ltGray">
          <a:xfrm>
            <a:off x="488407" y="242624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3/10/2020 8:41 AM Indi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4874187"/>
            <a:ext cx="8050193" cy="502445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>
              <a:defRPr lang="x-none"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644140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71170" y="41453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512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15064" y="3241"/>
            <a:ext cx="12222127" cy="5994352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ltGray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ltGray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ltGray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3/10/2020 8:41 AM Indi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4874187"/>
            <a:ext cx="7779444" cy="502445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>
              <a:defRPr lang="x-none"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644140"/>
            <a:ext cx="777944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50815" y="6103435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00453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09833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78602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theme" Target="../theme/theme1.x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image" Target="../media/image8.png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11" Type="http://schemas.openxmlformats.org/officeDocument/2006/relationships/tags" Target="../tags/tag27.xml"/><Relationship Id="rId24" Type="http://schemas.openxmlformats.org/officeDocument/2006/relationships/oleObject" Target="../embeddings/oleObject6.bin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1.emf"/><Relationship Id="rId5" Type="http://schemas.openxmlformats.org/officeDocument/2006/relationships/theme" Target="../theme/theme3.xml"/><Relationship Id="rId15" Type="http://schemas.openxmlformats.org/officeDocument/2006/relationships/tags" Target="../tags/tag54.xml"/><Relationship Id="rId23" Type="http://schemas.openxmlformats.org/officeDocument/2006/relationships/oleObject" Target="../embeddings/oleObject12.bin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81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24" Type="http://schemas.openxmlformats.org/officeDocument/2006/relationships/image" Target="../media/image1.emf"/><Relationship Id="rId5" Type="http://schemas.openxmlformats.org/officeDocument/2006/relationships/theme" Target="../theme/theme4.xml"/><Relationship Id="rId15" Type="http://schemas.openxmlformats.org/officeDocument/2006/relationships/tags" Target="../tags/tag75.xml"/><Relationship Id="rId23" Type="http://schemas.openxmlformats.org/officeDocument/2006/relationships/oleObject" Target="../embeddings/oleObject17.bin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tags" Target="../tags/tag8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image" Target="../media/image8.png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101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96.xml"/><Relationship Id="rId20" Type="http://schemas.openxmlformats.org/officeDocument/2006/relationships/tags" Target="../tags/tag100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5.xml"/><Relationship Id="rId11" Type="http://schemas.openxmlformats.org/officeDocument/2006/relationships/tags" Target="../tags/tag91.xml"/><Relationship Id="rId24" Type="http://schemas.openxmlformats.org/officeDocument/2006/relationships/oleObject" Target="../embeddings/oleObject22.bin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26" Type="http://schemas.openxmlformats.org/officeDocument/2006/relationships/tags" Target="../tags/tag125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20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5" Type="http://schemas.openxmlformats.org/officeDocument/2006/relationships/tags" Target="../tags/tag124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15.xml"/><Relationship Id="rId20" Type="http://schemas.openxmlformats.org/officeDocument/2006/relationships/tags" Target="../tags/tag119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110.xml"/><Relationship Id="rId24" Type="http://schemas.openxmlformats.org/officeDocument/2006/relationships/tags" Target="../tags/tag12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14.xml"/><Relationship Id="rId23" Type="http://schemas.openxmlformats.org/officeDocument/2006/relationships/tags" Target="../tags/tag122.xml"/><Relationship Id="rId28" Type="http://schemas.openxmlformats.org/officeDocument/2006/relationships/image" Target="../media/image1.emf"/><Relationship Id="rId10" Type="http://schemas.openxmlformats.org/officeDocument/2006/relationships/tags" Target="../tags/tag109.xml"/><Relationship Id="rId19" Type="http://schemas.openxmlformats.org/officeDocument/2006/relationships/tags" Target="../tags/tag118.xml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6.xml"/><Relationship Id="rId14" Type="http://schemas.openxmlformats.org/officeDocument/2006/relationships/tags" Target="../tags/tag113.xml"/><Relationship Id="rId22" Type="http://schemas.openxmlformats.org/officeDocument/2006/relationships/tags" Target="../tags/tag121.xml"/><Relationship Id="rId27" Type="http://schemas.openxmlformats.org/officeDocument/2006/relationships/oleObject" Target="../embeddings/oleObject28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18" Type="http://schemas.openxmlformats.org/officeDocument/2006/relationships/tags" Target="../tags/tag142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145.xml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tags" Target="../tags/tag14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40.xml"/><Relationship Id="rId20" Type="http://schemas.openxmlformats.org/officeDocument/2006/relationships/tags" Target="../tags/tag144.xml"/><Relationship Id="rId1" Type="http://schemas.openxmlformats.org/officeDocument/2006/relationships/slideLayout" Target="../slideLayouts/slideLayout31.x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24" Type="http://schemas.openxmlformats.org/officeDocument/2006/relationships/image" Target="../media/image1.emf"/><Relationship Id="rId5" Type="http://schemas.openxmlformats.org/officeDocument/2006/relationships/theme" Target="../theme/theme7.xml"/><Relationship Id="rId15" Type="http://schemas.openxmlformats.org/officeDocument/2006/relationships/tags" Target="../tags/tag139.xml"/><Relationship Id="rId23" Type="http://schemas.openxmlformats.org/officeDocument/2006/relationships/oleObject" Target="../embeddings/oleObject33.bin"/><Relationship Id="rId10" Type="http://schemas.openxmlformats.org/officeDocument/2006/relationships/tags" Target="../tags/tag134.xml"/><Relationship Id="rId19" Type="http://schemas.openxmlformats.org/officeDocument/2006/relationships/tags" Target="../tags/tag143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tags" Target="../tags/tag14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13" Type="http://schemas.openxmlformats.org/officeDocument/2006/relationships/tags" Target="../tags/tag158.xml"/><Relationship Id="rId18" Type="http://schemas.openxmlformats.org/officeDocument/2006/relationships/tags" Target="../tags/tag163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66.xml"/><Relationship Id="rId7" Type="http://schemas.openxmlformats.org/officeDocument/2006/relationships/tags" Target="../tags/tag152.xml"/><Relationship Id="rId12" Type="http://schemas.openxmlformats.org/officeDocument/2006/relationships/tags" Target="../tags/tag157.xml"/><Relationship Id="rId17" Type="http://schemas.openxmlformats.org/officeDocument/2006/relationships/tags" Target="../tags/tag162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61.xml"/><Relationship Id="rId20" Type="http://schemas.openxmlformats.org/officeDocument/2006/relationships/tags" Target="../tags/tag165.xml"/><Relationship Id="rId1" Type="http://schemas.openxmlformats.org/officeDocument/2006/relationships/slideLayout" Target="../slideLayouts/slideLayout35.xml"/><Relationship Id="rId6" Type="http://schemas.openxmlformats.org/officeDocument/2006/relationships/tags" Target="../tags/tag151.xml"/><Relationship Id="rId11" Type="http://schemas.openxmlformats.org/officeDocument/2006/relationships/tags" Target="../tags/tag156.xml"/><Relationship Id="rId24" Type="http://schemas.openxmlformats.org/officeDocument/2006/relationships/image" Target="../media/image1.emf"/><Relationship Id="rId5" Type="http://schemas.openxmlformats.org/officeDocument/2006/relationships/theme" Target="../theme/theme8.xml"/><Relationship Id="rId15" Type="http://schemas.openxmlformats.org/officeDocument/2006/relationships/tags" Target="../tags/tag160.xml"/><Relationship Id="rId23" Type="http://schemas.openxmlformats.org/officeDocument/2006/relationships/oleObject" Target="../embeddings/oleObject38.bin"/><Relationship Id="rId10" Type="http://schemas.openxmlformats.org/officeDocument/2006/relationships/tags" Target="../tags/tag155.xml"/><Relationship Id="rId19" Type="http://schemas.openxmlformats.org/officeDocument/2006/relationships/tags" Target="../tags/tag164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154.xml"/><Relationship Id="rId14" Type="http://schemas.openxmlformats.org/officeDocument/2006/relationships/tags" Target="../tags/tag159.xml"/><Relationship Id="rId22" Type="http://schemas.openxmlformats.org/officeDocument/2006/relationships/tags" Target="../tags/tag1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12/08/2020 04:05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 dirty="0">
                <a:solidFill>
                  <a:srgbClr val="808080"/>
                </a:solidFill>
                <a:latin typeface="+mn-lt"/>
                <a:ea typeface="+mn-ea"/>
              </a:rPr>
              <a:t>Printed 25/07/2020 16:01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1917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3999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48114" y="4197039"/>
            <a:ext cx="1697714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Printed 3/10/2020 8:41 AM India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GB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32" baseline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377535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846" indent="-85846">
              <a:defRPr lang="x-none"/>
            </a:pPr>
            <a:r>
              <a:rPr lang="x-none" sz="816" baseline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39225"/>
            <a:ext cx="1046329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524791" indent="-524791" defTabSz="913526">
              <a:tabLst>
                <a:tab pos="625214" algn="l"/>
              </a:tabLst>
            </a:pPr>
            <a:r>
              <a:rPr lang="x-none" sz="816" baseline="0">
                <a:solidFill>
                  <a:schemeClr val="bg1"/>
                </a:solidFill>
                <a:latin typeface="+mn-lt"/>
                <a:ea typeface="+mn-ea"/>
              </a:rPr>
              <a:t>SOURCE : Source</a:t>
            </a:r>
          </a:p>
        </p:txBody>
      </p:sp>
      <p:grpSp>
        <p:nvGrpSpPr>
          <p:cNvPr id="67" name="LegendBoxes" hidden="1"/>
          <p:cNvGrpSpPr>
            <a:grpSpLocks/>
          </p:cNvGrpSpPr>
          <p:nvPr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Sticker" hidden="1"/>
          <p:cNvGrpSpPr/>
          <p:nvPr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/>
        </p:nvPicPr>
        <p:blipFill rotWithShape="1">
          <a:blip r:embed="rId26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4FF0B731-1933-417C-888F-25E256A949C9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2579761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12/08/2020 04:05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 dirty="0">
                <a:solidFill>
                  <a:srgbClr val="808080"/>
                </a:solidFill>
                <a:latin typeface="+mn-lt"/>
                <a:ea typeface="+mn-ea"/>
              </a:rPr>
              <a:t>Printed 25/07/2020 16:01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4207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12/08/2020 04:05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 dirty="0">
                <a:solidFill>
                  <a:srgbClr val="808080"/>
                </a:solidFill>
                <a:latin typeface="+mn-lt"/>
                <a:ea typeface="+mn-ea"/>
              </a:rPr>
              <a:t>Printed 25/07/2020 16:01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1692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3999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48114" y="4197039"/>
            <a:ext cx="1697714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Printed 3/10/2020 8:41 AM India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GB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32" baseline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377535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846" indent="-85846">
              <a:defRPr lang="x-none"/>
            </a:pPr>
            <a:r>
              <a:rPr lang="x-none" sz="816" baseline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39225"/>
            <a:ext cx="1046329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524791" indent="-524791" defTabSz="913526">
              <a:tabLst>
                <a:tab pos="625214" algn="l"/>
              </a:tabLst>
            </a:pPr>
            <a:r>
              <a:rPr lang="x-none" sz="816" baseline="0">
                <a:solidFill>
                  <a:schemeClr val="bg1"/>
                </a:solidFill>
                <a:latin typeface="+mn-lt"/>
                <a:ea typeface="+mn-ea"/>
              </a:rPr>
              <a:t>SOURCE : Source</a:t>
            </a:r>
          </a:p>
        </p:txBody>
      </p:sp>
      <p:grpSp>
        <p:nvGrpSpPr>
          <p:cNvPr id="67" name="LegendBoxes" hidden="1"/>
          <p:cNvGrpSpPr>
            <a:grpSpLocks/>
          </p:cNvGrpSpPr>
          <p:nvPr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Sticker" hidden="1"/>
          <p:cNvGrpSpPr/>
          <p:nvPr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/>
        </p:nvPicPr>
        <p:blipFill rotWithShape="1">
          <a:blip r:embed="rId26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4FF0B731-1933-417C-888F-25E256A949C9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3190498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77930089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9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1765944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1702329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9FF8D031-226E-470F-9F60-DC9C3A140402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430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9FF8D031-226E-470F-9F60-DC9C3A14040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430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D318EA9-D86E-4951-940F-7F1E083D885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30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83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>
            <a:extLst>
              <a:ext uri="{FF2B5EF4-FFF2-40B4-BE49-F238E27FC236}">
                <a16:creationId xmlns:a16="http://schemas.microsoft.com/office/drawing/2014/main" id="{C7259E11-ECDC-430E-9DF4-77F31BAEF93C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113461" y="1979058"/>
            <a:ext cx="1965947" cy="9610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GB" sz="612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12/08/2020 04:05 Arabian Standard Time</a:t>
            </a:r>
            <a:endParaRPr kumimoji="0" lang="x-none" sz="163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5" name="Printed" hidden="1">
            <a:extLst>
              <a:ext uri="{FF2B5EF4-FFF2-40B4-BE49-F238E27FC236}">
                <a16:creationId xmlns:a16="http://schemas.microsoft.com/office/drawing/2014/main" id="{0B8314B9-2EC1-46EC-BA53-F2AAE77FA0E8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224679" y="4197298"/>
            <a:ext cx="1743510" cy="9610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GB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25/07/2020 16:01 Arabian Standard Time</a:t>
            </a:r>
            <a:endParaRPr kumimoji="0" lang="x-none" sz="163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0" name="Title Placeholder 2">
            <a:extLst>
              <a:ext uri="{FF2B5EF4-FFF2-40B4-BE49-F238E27FC236}">
                <a16:creationId xmlns:a16="http://schemas.microsoft.com/office/drawing/2014/main" id="{D5858CA3-006E-48CD-9697-2616B9A4C0B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63597" y="234864"/>
            <a:ext cx="11725506" cy="314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" name="1. On-page tracker" hidden="1">
            <a:extLst>
              <a:ext uri="{FF2B5EF4-FFF2-40B4-BE49-F238E27FC236}">
                <a16:creationId xmlns:a16="http://schemas.microsoft.com/office/drawing/2014/main" id="{FFF8C9AC-91EA-420E-B9D9-45A7346725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1977" y="77748"/>
            <a:ext cx="511939" cy="12809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none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>
            <a:extLst>
              <a:ext uri="{FF2B5EF4-FFF2-40B4-BE49-F238E27FC236}">
                <a16:creationId xmlns:a16="http://schemas.microsoft.com/office/drawing/2014/main" id="{9DF83520-4F72-4F1E-BF19-7928974431E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1977" y="566911"/>
            <a:ext cx="11725507" cy="25626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x-none" sz="163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033" name="Text Placeholder 2">
            <a:extLst>
              <a:ext uri="{FF2B5EF4-FFF2-40B4-BE49-F238E27FC236}">
                <a16:creationId xmlns:a16="http://schemas.microsoft.com/office/drawing/2014/main" id="{B89FD19F-7CB1-4D60-A0C7-9A8761BB47D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2696916" y="2716313"/>
            <a:ext cx="5852224" cy="1255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2" name="ACET" hidden="1">
            <a:extLst>
              <a:ext uri="{FF2B5EF4-FFF2-40B4-BE49-F238E27FC236}">
                <a16:creationId xmlns:a16="http://schemas.microsoft.com/office/drawing/2014/main" id="{F817BD6E-8DD5-4EAD-8817-9F90D32AD133}"/>
              </a:ext>
            </a:extLst>
          </p:cNvPr>
          <p:cNvGrpSpPr>
            <a:grpSpLocks/>
          </p:cNvGrpSpPr>
          <p:nvPr/>
        </p:nvGrpSpPr>
        <p:grpSpPr bwMode="auto">
          <a:xfrm>
            <a:off x="2696916" y="1995526"/>
            <a:ext cx="5800391" cy="531276"/>
            <a:chOff x="915" y="702"/>
            <a:chExt cx="2686" cy="328"/>
          </a:xfrm>
        </p:grpSpPr>
        <p:cxnSp>
          <p:nvCxnSpPr>
            <p:cNvPr id="16" name="AutoShape 249">
              <a:extLst>
                <a:ext uri="{FF2B5EF4-FFF2-40B4-BE49-F238E27FC236}">
                  <a16:creationId xmlns:a16="http://schemas.microsoft.com/office/drawing/2014/main" id="{913CB5D6-B34C-4606-AB45-91AB0DA8DD23}"/>
                </a:ext>
              </a:extLst>
            </p:cNvPr>
            <p:cNvCxnSpPr>
              <a:cxnSpLocks noChangeShapeType="1"/>
              <a:stCxn id="1084" idx="4"/>
              <a:endCxn id="108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084" name="AutoShape 250">
              <a:extLst>
                <a:ext uri="{FF2B5EF4-FFF2-40B4-BE49-F238E27FC236}">
                  <a16:creationId xmlns:a16="http://schemas.microsoft.com/office/drawing/2014/main" id="{70ABAAB5-350D-482B-9E77-E69A9F9D6A0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3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6A224837-959C-44AA-8580-A112EE6C0741}"/>
              </a:ext>
            </a:extLst>
          </p:cNvPr>
          <p:cNvSpPr/>
          <p:nvPr/>
        </p:nvSpPr>
        <p:spPr bwMode="ltGray">
          <a:xfrm>
            <a:off x="1" y="6559967"/>
            <a:ext cx="12192000" cy="298033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Slide Number">
            <a:extLst>
              <a:ext uri="{FF2B5EF4-FFF2-40B4-BE49-F238E27FC236}">
                <a16:creationId xmlns:a16="http://schemas.microsoft.com/office/drawing/2014/main" id="{F67570E3-BDEB-49D7-891A-637C7727A36A}"/>
              </a:ext>
            </a:extLst>
          </p:cNvPr>
          <p:cNvSpPr txBox="1">
            <a:spLocks/>
          </p:cNvSpPr>
          <p:nvPr/>
        </p:nvSpPr>
        <p:spPr bwMode="ltGray">
          <a:xfrm>
            <a:off x="11756636" y="6639267"/>
            <a:ext cx="130848" cy="12809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79DDE6-B5EE-4C40-8E11-E90D274B560C}" type="slidenum">
              <a:rPr kumimoji="0" lang="x-none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x-none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37" name="Slide Elements" hidden="1">
            <a:extLst>
              <a:ext uri="{FF2B5EF4-FFF2-40B4-BE49-F238E27FC236}">
                <a16:creationId xmlns:a16="http://schemas.microsoft.com/office/drawing/2014/main" id="{2B94344E-F7D7-44E6-8301-B813A13CA58E}"/>
              </a:ext>
            </a:extLst>
          </p:cNvPr>
          <p:cNvGrpSpPr>
            <a:grpSpLocks/>
          </p:cNvGrpSpPr>
          <p:nvPr/>
        </p:nvGrpSpPr>
        <p:grpSpPr bwMode="auto">
          <a:xfrm>
            <a:off x="161977" y="6376793"/>
            <a:ext cx="11725507" cy="390210"/>
            <a:chOff x="119063" y="6249337"/>
            <a:chExt cx="8618537" cy="382998"/>
          </a:xfrm>
        </p:grpSpPr>
        <p:sp>
          <p:nvSpPr>
            <p:cNvPr id="13" name="4. Footnote">
              <a:extLst>
                <a:ext uri="{FF2B5EF4-FFF2-40B4-BE49-F238E27FC236}">
                  <a16:creationId xmlns:a16="http://schemas.microsoft.com/office/drawing/2014/main" id="{9DA9715B-68FB-4940-893E-821B8DEF825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249337"/>
              <a:ext cx="8618537" cy="12572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marR="0" lvl="0" indent="-85846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lang="x-none"/>
              </a:pPr>
              <a:r>
                <a:rPr kumimoji="0" lang="x-none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082" name="5. Source">
              <a:extLst>
                <a:ext uri="{FF2B5EF4-FFF2-40B4-BE49-F238E27FC236}">
                  <a16:creationId xmlns:a16="http://schemas.microsoft.com/office/drawing/2014/main" id="{A5B35EE3-8C50-45FB-B2B7-6D615F9F88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06606"/>
              <a:ext cx="7690797" cy="1257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514350" indent="-5143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514350" marR="0" lvl="0" indent="-51435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612775" algn="l"/>
                </a:tabLst>
                <a:defRPr/>
              </a:pPr>
              <a:r>
                <a:rPr kumimoji="0" lang="en-US" altLang="en-US" sz="816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1038" name="LegendBoxes" hidden="1">
            <a:extLst>
              <a:ext uri="{FF2B5EF4-FFF2-40B4-BE49-F238E27FC236}">
                <a16:creationId xmlns:a16="http://schemas.microsoft.com/office/drawing/2014/main" id="{41C58506-2218-409D-BF6E-10CD077D9B18}"/>
              </a:ext>
            </a:extLst>
          </p:cNvPr>
          <p:cNvGrpSpPr>
            <a:grpSpLocks/>
          </p:cNvGrpSpPr>
          <p:nvPr/>
        </p:nvGrpSpPr>
        <p:grpSpPr bwMode="auto">
          <a:xfrm>
            <a:off x="11108375" y="275357"/>
            <a:ext cx="788828" cy="1022060"/>
            <a:chOff x="4936" y="176"/>
            <a:chExt cx="487" cy="631"/>
          </a:xfrm>
        </p:grpSpPr>
        <p:sp>
          <p:nvSpPr>
            <p:cNvPr id="1073" name="Legend1">
              <a:extLst>
                <a:ext uri="{FF2B5EF4-FFF2-40B4-BE49-F238E27FC236}">
                  <a16:creationId xmlns:a16="http://schemas.microsoft.com/office/drawing/2014/main" id="{A28C5F16-9E32-43C2-8CF5-895C3A4398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74" name="LegendRectangle1">
              <a:extLst>
                <a:ext uri="{FF2B5EF4-FFF2-40B4-BE49-F238E27FC236}">
                  <a16:creationId xmlns:a16="http://schemas.microsoft.com/office/drawing/2014/main" id="{627979D1-219D-4ABD-9758-832C8A159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75" name="Legend2">
              <a:extLst>
                <a:ext uri="{FF2B5EF4-FFF2-40B4-BE49-F238E27FC236}">
                  <a16:creationId xmlns:a16="http://schemas.microsoft.com/office/drawing/2014/main" id="{C4A7B277-6ABB-479C-BFDE-D86D54589E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76" name="LegendRectangle2">
              <a:extLst>
                <a:ext uri="{FF2B5EF4-FFF2-40B4-BE49-F238E27FC236}">
                  <a16:creationId xmlns:a16="http://schemas.microsoft.com/office/drawing/2014/main" id="{00A0A0F0-F015-42CE-B4B8-61494889CE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77" name="Legend3">
              <a:extLst>
                <a:ext uri="{FF2B5EF4-FFF2-40B4-BE49-F238E27FC236}">
                  <a16:creationId xmlns:a16="http://schemas.microsoft.com/office/drawing/2014/main" id="{E7524FFC-8C27-4958-A81B-2A0961828E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78" name="LegendRectangle3">
              <a:extLst>
                <a:ext uri="{FF2B5EF4-FFF2-40B4-BE49-F238E27FC236}">
                  <a16:creationId xmlns:a16="http://schemas.microsoft.com/office/drawing/2014/main" id="{45315034-D1A4-44C5-9ACA-1D3C7315F4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79" name="Legend4">
              <a:extLst>
                <a:ext uri="{FF2B5EF4-FFF2-40B4-BE49-F238E27FC236}">
                  <a16:creationId xmlns:a16="http://schemas.microsoft.com/office/drawing/2014/main" id="{B4C65ACD-7CDA-4ED2-9B8D-985AF0F1B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80" name="LegendRectangle4">
              <a:extLst>
                <a:ext uri="{FF2B5EF4-FFF2-40B4-BE49-F238E27FC236}">
                  <a16:creationId xmlns:a16="http://schemas.microsoft.com/office/drawing/2014/main" id="{274C08DB-3C80-44FA-9A1F-3671D6140E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039" name="LegendLines" hidden="1">
            <a:extLst>
              <a:ext uri="{FF2B5EF4-FFF2-40B4-BE49-F238E27FC236}">
                <a16:creationId xmlns:a16="http://schemas.microsoft.com/office/drawing/2014/main" id="{FDD9B37A-F6B1-442F-AD96-53A7DC0F2A42}"/>
              </a:ext>
            </a:extLst>
          </p:cNvPr>
          <p:cNvGrpSpPr>
            <a:grpSpLocks/>
          </p:cNvGrpSpPr>
          <p:nvPr/>
        </p:nvGrpSpPr>
        <p:grpSpPr bwMode="auto">
          <a:xfrm>
            <a:off x="10794139" y="275357"/>
            <a:ext cx="1103063" cy="749942"/>
            <a:chOff x="4750" y="176"/>
            <a:chExt cx="681" cy="463"/>
          </a:xfrm>
        </p:grpSpPr>
        <p:sp>
          <p:nvSpPr>
            <p:cNvPr id="77" name="LineLegend1">
              <a:extLst>
                <a:ext uri="{FF2B5EF4-FFF2-40B4-BE49-F238E27FC236}">
                  <a16:creationId xmlns:a16="http://schemas.microsoft.com/office/drawing/2014/main" id="{D9D2F5DF-78D5-47B0-9E44-71E8F9BAFD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LineLegend2">
              <a:extLst>
                <a:ext uri="{FF2B5EF4-FFF2-40B4-BE49-F238E27FC236}">
                  <a16:creationId xmlns:a16="http://schemas.microsoft.com/office/drawing/2014/main" id="{B0E7546D-81A4-40D3-A00D-02B3112AE6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LineLegend3">
              <a:extLst>
                <a:ext uri="{FF2B5EF4-FFF2-40B4-BE49-F238E27FC236}">
                  <a16:creationId xmlns:a16="http://schemas.microsoft.com/office/drawing/2014/main" id="{F3539309-FA2B-46CE-899C-1382AC0020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0" name="Legend1">
              <a:extLst>
                <a:ext uri="{FF2B5EF4-FFF2-40B4-BE49-F238E27FC236}">
                  <a16:creationId xmlns:a16="http://schemas.microsoft.com/office/drawing/2014/main" id="{CB1C1E73-7A79-4161-A1D9-4EA4D2196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71" name="Legend2">
              <a:extLst>
                <a:ext uri="{FF2B5EF4-FFF2-40B4-BE49-F238E27FC236}">
                  <a16:creationId xmlns:a16="http://schemas.microsoft.com/office/drawing/2014/main" id="{6F0CD916-37D0-44A8-81FA-236B25F076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72" name="Legend3">
              <a:extLst>
                <a:ext uri="{FF2B5EF4-FFF2-40B4-BE49-F238E27FC236}">
                  <a16:creationId xmlns:a16="http://schemas.microsoft.com/office/drawing/2014/main" id="{2F74E955-B096-4F9C-9FBB-B41A41FAE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040" name="McKSticker" hidden="1">
            <a:extLst>
              <a:ext uri="{FF2B5EF4-FFF2-40B4-BE49-F238E27FC236}">
                <a16:creationId xmlns:a16="http://schemas.microsoft.com/office/drawing/2014/main" id="{D039EBCF-9D9D-4AD6-A825-2327BD5C0D60}"/>
              </a:ext>
            </a:extLst>
          </p:cNvPr>
          <p:cNvGrpSpPr>
            <a:grpSpLocks/>
          </p:cNvGrpSpPr>
          <p:nvPr/>
        </p:nvGrpSpPr>
        <p:grpSpPr bwMode="auto">
          <a:xfrm>
            <a:off x="11134653" y="275357"/>
            <a:ext cx="752829" cy="156360"/>
            <a:chOff x="8003434" y="285750"/>
            <a:chExt cx="737341" cy="153245"/>
          </a:xfrm>
        </p:grpSpPr>
        <p:sp>
          <p:nvSpPr>
            <p:cNvPr id="1064" name="StickerRectangle">
              <a:extLst>
                <a:ext uri="{FF2B5EF4-FFF2-40B4-BE49-F238E27FC236}">
                  <a16:creationId xmlns:a16="http://schemas.microsoft.com/office/drawing/2014/main" id="{5F2CC263-EA00-4EED-A537-2784DDCC1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3434" y="285750"/>
              <a:ext cx="737341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816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1065" name="AutoShape 31">
              <a:extLst>
                <a:ext uri="{FF2B5EF4-FFF2-40B4-BE49-F238E27FC236}">
                  <a16:creationId xmlns:a16="http://schemas.microsoft.com/office/drawing/2014/main" id="{6B47BE6C-DA75-4026-9160-DDA95FCB9364}"/>
                </a:ext>
              </a:extLst>
            </p:cNvPr>
            <p:cNvCxnSpPr>
              <a:cxnSpLocks noChangeShapeType="1"/>
              <a:stCxn id="1064" idx="2"/>
              <a:endCxn id="1064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6" name="AutoShape 32">
              <a:extLst>
                <a:ext uri="{FF2B5EF4-FFF2-40B4-BE49-F238E27FC236}">
                  <a16:creationId xmlns:a16="http://schemas.microsoft.com/office/drawing/2014/main" id="{90F4E8DA-59C1-49A9-B0DB-ABF8AFD83475}"/>
                </a:ext>
              </a:extLst>
            </p:cNvPr>
            <p:cNvCxnSpPr>
              <a:cxnSpLocks noChangeShapeType="1"/>
              <a:stCxn id="1064" idx="4"/>
              <a:endCxn id="1064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1" name="LegendMoons" hidden="1">
            <a:extLst>
              <a:ext uri="{FF2B5EF4-FFF2-40B4-BE49-F238E27FC236}">
                <a16:creationId xmlns:a16="http://schemas.microsoft.com/office/drawing/2014/main" id="{255DE97A-6470-402C-8A4F-63FB36A83CE3}"/>
              </a:ext>
            </a:extLst>
          </p:cNvPr>
          <p:cNvGrpSpPr>
            <a:grpSpLocks/>
          </p:cNvGrpSpPr>
          <p:nvPr/>
        </p:nvGrpSpPr>
        <p:grpSpPr bwMode="auto">
          <a:xfrm>
            <a:off x="11040344" y="275357"/>
            <a:ext cx="857057" cy="1333051"/>
            <a:chOff x="6655594" y="273840"/>
            <a:chExt cx="840152" cy="1306516"/>
          </a:xfrm>
        </p:grpSpPr>
        <p:grpSp>
          <p:nvGrpSpPr>
            <p:cNvPr id="1044" name="MoonLegend1">
              <a:extLst>
                <a:ext uri="{FF2B5EF4-FFF2-40B4-BE49-F238E27FC236}">
                  <a16:creationId xmlns:a16="http://schemas.microsoft.com/office/drawing/2014/main" id="{BD834EF6-0C08-49F2-92B8-3D0A66E24867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>
                <a:extLst>
                  <a:ext uri="{FF2B5EF4-FFF2-40B4-BE49-F238E27FC236}">
                    <a16:creationId xmlns:a16="http://schemas.microsoft.com/office/drawing/2014/main" id="{D00DDFED-F439-4296-B0D0-6F62C4E7D8F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Arc 39">
                <a:extLst>
                  <a:ext uri="{FF2B5EF4-FFF2-40B4-BE49-F238E27FC236}">
                    <a16:creationId xmlns:a16="http://schemas.microsoft.com/office/drawing/2014/main" id="{11C671BA-3B98-4B5E-9AD7-99C8152454FE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45" name="MoonLegend2">
              <a:extLst>
                <a:ext uri="{FF2B5EF4-FFF2-40B4-BE49-F238E27FC236}">
                  <a16:creationId xmlns:a16="http://schemas.microsoft.com/office/drawing/2014/main" id="{2ACCD905-7396-43AD-AFAE-888375B75A65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>
                <a:extLst>
                  <a:ext uri="{FF2B5EF4-FFF2-40B4-BE49-F238E27FC236}">
                    <a16:creationId xmlns:a16="http://schemas.microsoft.com/office/drawing/2014/main" id="{6AA8E5EB-570C-4E89-8871-E9A05FE51E0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Arc 42">
                <a:extLst>
                  <a:ext uri="{FF2B5EF4-FFF2-40B4-BE49-F238E27FC236}">
                    <a16:creationId xmlns:a16="http://schemas.microsoft.com/office/drawing/2014/main" id="{6BDC4973-CDE3-4229-8A7C-087B248F2AF2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46" name="MoonLegend4">
              <a:extLst>
                <a:ext uri="{FF2B5EF4-FFF2-40B4-BE49-F238E27FC236}">
                  <a16:creationId xmlns:a16="http://schemas.microsoft.com/office/drawing/2014/main" id="{EF20ED43-6498-44EA-99A3-89E9A7884648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>
                <a:extLst>
                  <a:ext uri="{FF2B5EF4-FFF2-40B4-BE49-F238E27FC236}">
                    <a16:creationId xmlns:a16="http://schemas.microsoft.com/office/drawing/2014/main" id="{D20B126D-61F1-41E6-AAEF-3C4603FE08E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Arc 48">
                <a:extLst>
                  <a:ext uri="{FF2B5EF4-FFF2-40B4-BE49-F238E27FC236}">
                    <a16:creationId xmlns:a16="http://schemas.microsoft.com/office/drawing/2014/main" id="{34283839-82A8-446B-AC13-E5BF69BD9550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47" name="MoonLegend5">
              <a:extLst>
                <a:ext uri="{FF2B5EF4-FFF2-40B4-BE49-F238E27FC236}">
                  <a16:creationId xmlns:a16="http://schemas.microsoft.com/office/drawing/2014/main" id="{04CA37E1-3E95-4036-B99F-D9896B4F30A9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>
                <a:extLst>
                  <a:ext uri="{FF2B5EF4-FFF2-40B4-BE49-F238E27FC236}">
                    <a16:creationId xmlns:a16="http://schemas.microsoft.com/office/drawing/2014/main" id="{84F7AE59-C53B-483D-B5B9-1FB8239FCA8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Oval 51">
                <a:extLst>
                  <a:ext uri="{FF2B5EF4-FFF2-40B4-BE49-F238E27FC236}">
                    <a16:creationId xmlns:a16="http://schemas.microsoft.com/office/drawing/2014/main" id="{824849FE-8529-4FB2-948A-09416576A65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048" name="Legend1">
              <a:extLst>
                <a:ext uri="{FF2B5EF4-FFF2-40B4-BE49-F238E27FC236}">
                  <a16:creationId xmlns:a16="http://schemas.microsoft.com/office/drawing/2014/main" id="{FE02FC28-6F8F-48DA-8C3D-03B155EE2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49" name="Legend2">
              <a:extLst>
                <a:ext uri="{FF2B5EF4-FFF2-40B4-BE49-F238E27FC236}">
                  <a16:creationId xmlns:a16="http://schemas.microsoft.com/office/drawing/2014/main" id="{7E48C3DA-4361-4888-8DB4-FE7AACDD45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50" name="Legend3">
              <a:extLst>
                <a:ext uri="{FF2B5EF4-FFF2-40B4-BE49-F238E27FC236}">
                  <a16:creationId xmlns:a16="http://schemas.microsoft.com/office/drawing/2014/main" id="{EA900A3B-F820-41A1-BBAA-1DC46F569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51" name="Legend4">
              <a:extLst>
                <a:ext uri="{FF2B5EF4-FFF2-40B4-BE49-F238E27FC236}">
                  <a16:creationId xmlns:a16="http://schemas.microsoft.com/office/drawing/2014/main" id="{DAF3F4D1-D7DC-49F2-A5B6-B392ABCE43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52" name="Legend5">
              <a:extLst>
                <a:ext uri="{FF2B5EF4-FFF2-40B4-BE49-F238E27FC236}">
                  <a16:creationId xmlns:a16="http://schemas.microsoft.com/office/drawing/2014/main" id="{A801E10B-71A5-458D-9497-3B6F5EB5F9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1053" name="MoonLegend3">
              <a:extLst>
                <a:ext uri="{FF2B5EF4-FFF2-40B4-BE49-F238E27FC236}">
                  <a16:creationId xmlns:a16="http://schemas.microsoft.com/office/drawing/2014/main" id="{4AD79D31-3C1A-4618-B507-649DBD34E9D2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>
                <a:extLst>
                  <a:ext uri="{FF2B5EF4-FFF2-40B4-BE49-F238E27FC236}">
                    <a16:creationId xmlns:a16="http://schemas.microsoft.com/office/drawing/2014/main" id="{38B785D0-2EC9-4079-92D6-AA82A95764C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Arc 48">
                <a:extLst>
                  <a:ext uri="{FF2B5EF4-FFF2-40B4-BE49-F238E27FC236}">
                    <a16:creationId xmlns:a16="http://schemas.microsoft.com/office/drawing/2014/main" id="{8A3490E9-36E3-4F25-BE04-71A330495EFE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1" name="doc id">
            <a:extLst>
              <a:ext uri="{FF2B5EF4-FFF2-40B4-BE49-F238E27FC236}">
                <a16:creationId xmlns:a16="http://schemas.microsoft.com/office/drawing/2014/main" id="{D11FD9C5-5D54-4AE2-9E1A-2E6AC6420192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0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x-none"/>
            </a:pPr>
            <a:endParaRPr kumimoji="0" lang="x-none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43" name="Picture 606" descr="Image result for al futtaim logo">
            <a:extLst>
              <a:ext uri="{FF2B5EF4-FFF2-40B4-BE49-F238E27FC236}">
                <a16:creationId xmlns:a16="http://schemas.microsoft.com/office/drawing/2014/main" id="{B34152D8-9FBA-4058-93C7-90C59799B2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3014" y="6634475"/>
            <a:ext cx="719177" cy="149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0385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632">
          <a:solidFill>
            <a:schemeClr val="tx1"/>
          </a:solidFill>
          <a:latin typeface="+mn-lt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8A6A14E-8391-4EDE-3145-43942225C811}"/>
              </a:ext>
            </a:extLst>
          </p:cNvPr>
          <p:cNvSpPr txBox="1"/>
          <p:nvPr/>
        </p:nvSpPr>
        <p:spPr>
          <a:xfrm>
            <a:off x="688621" y="286593"/>
            <a:ext cx="1113084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Join at 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www.kahoot.it 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anose="00000500000000000000" pitchFamily="2" charset="0"/>
                <a:ea typeface="Open Sans"/>
                <a:cs typeface="Open Sans"/>
              </a:rPr>
              <a:t>using your mobile 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2E84B9-3DAB-5D8C-92D5-10BBF6C0D756}"/>
              </a:ext>
            </a:extLst>
          </p:cNvPr>
          <p:cNvSpPr txBox="1"/>
          <p:nvPr/>
        </p:nvSpPr>
        <p:spPr>
          <a:xfrm>
            <a:off x="-94775" y="1869040"/>
            <a:ext cx="12286775" cy="2904065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ACCBF9">
                    <a:lumMod val="50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tep 1: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Enter the </a:t>
            </a:r>
            <a:r>
              <a: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Game </a:t>
            </a:r>
            <a:r>
              <a:rPr kumimoji="0" lang="en-US" sz="3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Pin</a:t>
            </a: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(</a:t>
            </a: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dd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Number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)</a:t>
            </a:r>
          </a:p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ACCBF9">
                    <a:lumMod val="50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tep 2: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Choose &amp; enter your </a:t>
            </a:r>
            <a:r>
              <a: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nickname</a:t>
            </a:r>
          </a:p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ACCBF9">
                    <a:lumMod val="50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tep 3: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elect your </a:t>
            </a:r>
            <a:r>
              <a: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Team Name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(found on your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table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)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ounded Rectangle 27">
            <a:extLst>
              <a:ext uri="{FF2B5EF4-FFF2-40B4-BE49-F238E27FC236}">
                <a16:creationId xmlns:a16="http://schemas.microsoft.com/office/drawing/2014/main" id="{46F6E849-41DB-F60D-9C0C-18F550FDE3F5}"/>
              </a:ext>
            </a:extLst>
          </p:cNvPr>
          <p:cNvSpPr/>
          <p:nvPr/>
        </p:nvSpPr>
        <p:spPr>
          <a:xfrm rot="21347402">
            <a:off x="210622" y="1638499"/>
            <a:ext cx="11912746" cy="3729234"/>
          </a:xfrm>
          <a:prstGeom prst="roundRect">
            <a:avLst>
              <a:gd name="adj" fmla="val 11070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4157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AE390A88-97CA-41E9-824B-643367F317B4}" vid="{FC435FCC-79BF-4757-8FA3-D717BB23D6FE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uto Strategy &amp; Transformation Template_V1" id="{266CB88D-8362-4EA3-AEC8-E189E36BD52E}" vid="{AFB6F4D1-3A3F-4B05-949F-F74565767B20}"/>
    </a:ext>
  </a:extLst>
</a:theme>
</file>

<file path=ppt/theme/theme3.xml><?xml version="1.0" encoding="utf-8"?>
<a:theme xmlns:a="http://schemas.openxmlformats.org/drawingml/2006/main" name="1_Al Futtaim_CF_DE1410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AE390A88-97CA-41E9-824B-643367F317B4}" vid="{FC435FCC-79BF-4757-8FA3-D717BB23D6FE}"/>
    </a:ext>
  </a:extLst>
</a:theme>
</file>

<file path=ppt/theme/theme4.xml><?xml version="1.0" encoding="utf-8"?>
<a:theme xmlns:a="http://schemas.openxmlformats.org/drawingml/2006/main" name="3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AE390A88-97CA-41E9-824B-643367F317B4}" vid="{FC435FCC-79BF-4757-8FA3-D717BB23D6FE}"/>
    </a:ext>
  </a:extLst>
</a:theme>
</file>

<file path=ppt/theme/theme5.xml><?xml version="1.0" encoding="utf-8"?>
<a:theme xmlns:a="http://schemas.openxmlformats.org/drawingml/2006/main" name="4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uto Strategy &amp; Transformation Template_V1" id="{266CB88D-8362-4EA3-AEC8-E189E36BD52E}" vid="{AFB6F4D1-3A3F-4B05-949F-F74565767B20}"/>
    </a:ext>
  </a:extLst>
</a:theme>
</file>

<file path=ppt/theme/theme6.xml><?xml version="1.0" encoding="utf-8"?>
<a:theme xmlns:a="http://schemas.openxmlformats.org/drawingml/2006/main" name="72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7.xml><?xml version="1.0" encoding="utf-8"?>
<a:theme xmlns:a="http://schemas.openxmlformats.org/drawingml/2006/main" name="73_Al Futtaim_CF_DE1410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8.xml><?xml version="1.0" encoding="utf-8"?>
<a:theme xmlns:a="http://schemas.openxmlformats.org/drawingml/2006/main" name="5_Al Futtaim_CF_DE1410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Al Futtaim_CF_DE1410 1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9DCF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CE0F54AB-BD49-4670-BA49-6C2228295003}" vid="{F18C2F0B-508A-4AE9-8804-012EFE60C81E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9518F0E44EC54E921321C1AF209EE3" ma:contentTypeVersion="13" ma:contentTypeDescription="Create a new document." ma:contentTypeScope="" ma:versionID="899f6db7b1a0798acd4ac29dcdecc279">
  <xsd:schema xmlns:xsd="http://www.w3.org/2001/XMLSchema" xmlns:xs="http://www.w3.org/2001/XMLSchema" xmlns:p="http://schemas.microsoft.com/office/2006/metadata/properties" xmlns:ns3="4a134991-88a2-4fa4-ac8b-0f797b234b6e" xmlns:ns4="4b9ba75c-aad3-496b-90d7-637351af5973" targetNamespace="http://schemas.microsoft.com/office/2006/metadata/properties" ma:root="true" ma:fieldsID="7cc92fe1473f58f41126e7ef62db84cf" ns3:_="" ns4:_="">
    <xsd:import namespace="4a134991-88a2-4fa4-ac8b-0f797b234b6e"/>
    <xsd:import namespace="4b9ba75c-aad3-496b-90d7-637351af597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134991-88a2-4fa4-ac8b-0f797b234b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9ba75c-aad3-496b-90d7-637351af597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36783D8-2978-4E38-9971-0CB986148BD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AD4B103-1AD5-4CC5-B54B-00F9E606F2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134991-88a2-4fa4-ac8b-0f797b234b6e"/>
    <ds:schemaRef ds:uri="4b9ba75c-aad3-496b-90d7-637351af59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FAEBD4A-4FE3-497C-91FB-A14927E30358}">
  <ds:schemaRefs>
    <ds:schemaRef ds:uri="http://purl.org/dc/dcmitype/"/>
    <ds:schemaRef ds:uri="http://schemas.microsoft.com/office/2006/documentManagement/types"/>
    <ds:schemaRef ds:uri="http://www.w3.org/XML/1998/namespace"/>
    <ds:schemaRef ds:uri="4b9ba75c-aad3-496b-90d7-637351af5973"/>
    <ds:schemaRef ds:uri="4a134991-88a2-4fa4-ac8b-0f797b234b6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0358</TotalTime>
  <Words>42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6" baseType="lpstr">
      <vt:lpstr>Arial</vt:lpstr>
      <vt:lpstr>Calibri</vt:lpstr>
      <vt:lpstr>inherit</vt:lpstr>
      <vt:lpstr>Montserrat</vt:lpstr>
      <vt:lpstr>Open Sans</vt:lpstr>
      <vt:lpstr>Segoe UI</vt:lpstr>
      <vt:lpstr>Al Futtaim_CF_DE1410</vt:lpstr>
      <vt:lpstr>2_Al Futtaim_CF_DE1410</vt:lpstr>
      <vt:lpstr>1_Al Futtaim_CF_DE1410</vt:lpstr>
      <vt:lpstr>3_Al Futtaim_CF_DE1410</vt:lpstr>
      <vt:lpstr>4_Al Futtaim_CF_DE1410</vt:lpstr>
      <vt:lpstr>72_Al Futtaim_CF_DE1410</vt:lpstr>
      <vt:lpstr>73_Al Futtaim_CF_DE1410</vt:lpstr>
      <vt:lpstr>5_Al Futtaim_CF_DE1410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dhu Babu Singadi</dc:creator>
  <cp:lastModifiedBy>Fatma Alsagaf</cp:lastModifiedBy>
  <cp:revision>479</cp:revision>
  <cp:lastPrinted>2022-06-08T06:16:39Z</cp:lastPrinted>
  <dcterms:created xsi:type="dcterms:W3CDTF">2017-10-19T09:35:34Z</dcterms:created>
  <dcterms:modified xsi:type="dcterms:W3CDTF">2024-01-17T08:5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9518F0E44EC54E921321C1AF209EE3</vt:lpwstr>
  </property>
</Properties>
</file>